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20" r:id="rId1"/>
  </p:sldMasterIdLst>
  <p:notesMasterIdLst>
    <p:notesMasterId r:id="rId3"/>
  </p:notesMasterIdLst>
  <p:handoutMasterIdLst>
    <p:handoutMasterId r:id="rId4"/>
  </p:handoutMasterIdLst>
  <p:sldIdLst>
    <p:sldId id="623" r:id="rId2"/>
  </p:sldIdLst>
  <p:sldSz cx="10693400" cy="7561263"/>
  <p:notesSz cx="6805613" cy="9944100"/>
  <p:kinsoku lang="zh-CN" invalStChars="、。，．・：；？！゛゜ヽヾゝゞ々ー’”）〕］｝〉》」』】°‰′″℃￠％ぁぃぅぇぉっゃゅょゎァィゥェォッャュョヮヵヶ!%),.:;?]}｡｣､･ｧｨｩｪｫｬｭｮｯｰﾞﾟ" invalEndChars="‘“（〔［｛〈《「『【￥＄$([\{｢￡"/>
  <p:defaultTextStyle>
    <a:defPPr>
      <a:defRPr lang="fr-FR"/>
    </a:defPPr>
    <a:lvl1pPr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563">
          <p15:clr>
            <a:srgbClr val="A4A3A4"/>
          </p15:clr>
        </p15:guide>
        <p15:guide id="2" orient="horz" pos="1792">
          <p15:clr>
            <a:srgbClr val="A4A3A4"/>
          </p15:clr>
        </p15:guide>
        <p15:guide id="3" pos="3368">
          <p15:clr>
            <a:srgbClr val="A4A3A4"/>
          </p15:clr>
        </p15:guide>
        <p15:guide id="4" orient="horz" pos="15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2" userDrawn="1">
          <p15:clr>
            <a:srgbClr val="A4A3A4"/>
          </p15:clr>
        </p15:guide>
        <p15:guide id="2" pos="2144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F6600"/>
    <a:srgbClr val="BB7759"/>
    <a:srgbClr val="003366"/>
    <a:srgbClr val="A8C745"/>
    <a:srgbClr val="9EBE38"/>
    <a:srgbClr val="990000"/>
    <a:srgbClr val="FF990B"/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501" autoAdjust="0"/>
    <p:restoredTop sz="94625" autoAdjust="0"/>
  </p:normalViewPr>
  <p:slideViewPr>
    <p:cSldViewPr snapToGrid="0">
      <p:cViewPr varScale="1">
        <p:scale>
          <a:sx n="100" d="100"/>
          <a:sy n="100" d="100"/>
        </p:scale>
        <p:origin x="1548" y="96"/>
      </p:cViewPr>
      <p:guideLst>
        <p:guide orient="horz" pos="2563"/>
        <p:guide orient="horz" pos="1792"/>
        <p:guide pos="3368"/>
        <p:guide orient="horz" pos="1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2688"/>
    </p:cViewPr>
  </p:sorterViewPr>
  <p:notesViewPr>
    <p:cSldViewPr snapToGrid="0">
      <p:cViewPr varScale="1">
        <p:scale>
          <a:sx n="76" d="100"/>
          <a:sy n="76" d="100"/>
        </p:scale>
        <p:origin x="-2160" y="-108"/>
      </p:cViewPr>
      <p:guideLst>
        <p:guide orient="horz" pos="3132"/>
        <p:guide pos="214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ChangeArrowheads="1"/>
          </p:cNvSpPr>
          <p:nvPr/>
        </p:nvSpPr>
        <p:spPr bwMode="auto">
          <a:xfrm>
            <a:off x="6180918" y="9554582"/>
            <a:ext cx="549283" cy="265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1485" tIns="39797" rIns="81485" bIns="39797" anchor="ctr">
            <a:spAutoFit/>
          </a:bodyPr>
          <a:lstStyle>
            <a:lvl1pPr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404813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806450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208088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1609725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0669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5241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29813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4385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r">
              <a:defRPr/>
            </a:pPr>
            <a:fld id="{1C239B82-A2F5-4DC9-A5AB-91C2A636AD1D}" type="slidenum">
              <a:rPr lang="fr-FR" altLang="zh-CN" sz="1200" b="0">
                <a:latin typeface="Book Antiqua" panose="02040602050305030304" pitchFamily="18" charset="0"/>
              </a:rPr>
              <a:pPr algn="r">
                <a:defRPr/>
              </a:pPr>
              <a:t>‹#›</a:t>
            </a:fld>
            <a:endParaRPr lang="es-ES" altLang="zh-CN" sz="1200" b="0" dirty="0">
              <a:latin typeface="Book Antiqua" panose="020406020503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217664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2648" y="4726077"/>
            <a:ext cx="4980317" cy="4190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1485" tIns="39797" rIns="81485" bIns="3979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zh-CN" noProof="0"/>
              <a:t>Cliquez pour modifier le style de texte du masque</a:t>
            </a:r>
          </a:p>
          <a:p>
            <a:pPr lvl="1"/>
            <a:r>
              <a:rPr lang="fr-FR" altLang="zh-CN" noProof="0"/>
              <a:t>Second niveau</a:t>
            </a:r>
          </a:p>
          <a:p>
            <a:pPr lvl="2"/>
            <a:r>
              <a:rPr lang="fr-FR" altLang="zh-CN" noProof="0"/>
              <a:t>Troisième niveau</a:t>
            </a:r>
          </a:p>
          <a:p>
            <a:pPr lvl="3"/>
            <a:r>
              <a:rPr lang="fr-FR" altLang="zh-CN" noProof="0"/>
              <a:t>Quatrième niveau</a:t>
            </a:r>
          </a:p>
          <a:p>
            <a:pPr lvl="4"/>
            <a:r>
              <a:rPr lang="fr-FR" altLang="zh-CN" noProof="0"/>
              <a:t>Cinquième niveau</a:t>
            </a:r>
          </a:p>
        </p:txBody>
      </p:sp>
      <p:sp>
        <p:nvSpPr>
          <p:cNvPr id="3075" name="Rectangle 3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527050" y="576263"/>
            <a:ext cx="5753100" cy="4068762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2052" name="Rectangle 4"/>
          <p:cNvSpPr>
            <a:spLocks noChangeArrowheads="1"/>
          </p:cNvSpPr>
          <p:nvPr/>
        </p:nvSpPr>
        <p:spPr bwMode="auto">
          <a:xfrm>
            <a:off x="6180918" y="9554582"/>
            <a:ext cx="549283" cy="265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1485" tIns="39797" rIns="81485" bIns="39797" anchor="ctr">
            <a:spAutoFit/>
          </a:bodyPr>
          <a:lstStyle>
            <a:lvl1pPr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404813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806450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208088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1609725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0669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5241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29813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4385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r">
              <a:defRPr/>
            </a:pPr>
            <a:fld id="{E6FB88F8-BE06-4309-B3DC-39FA6B457582}" type="slidenum">
              <a:rPr lang="fr-FR" altLang="zh-CN" sz="1200" b="0" smtClean="0">
                <a:latin typeface="Book Antiqua" panose="02040602050305030304" pitchFamily="18" charset="0"/>
              </a:rPr>
              <a:pPr algn="r">
                <a:defRPr/>
              </a:pPr>
              <a:t>‹#›</a:t>
            </a:fld>
            <a:endParaRPr lang="es-ES" altLang="zh-CN" sz="1200" b="0" dirty="0">
              <a:latin typeface="Book Antiqua" panose="020406020503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531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1pPr>
    <a:lvl2pPr marL="338138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2pPr>
    <a:lvl3pPr marL="674688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3pPr>
    <a:lvl4pPr marL="1012825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4pPr>
    <a:lvl5pPr marL="1347788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570772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oleObject" Target="../embeddings/oleObject4.bin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5.pn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oleObject" Target="../embeddings/oleObject8.bin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rotWithShape="1">
          <a:gsLst>
            <a:gs pos="0">
              <a:schemeClr val="bg1"/>
            </a:gs>
            <a:gs pos="100000">
              <a:srgbClr val="D9D9D9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8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3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4" name="Objekt 8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/>
          <p:cNvSpPr txBox="1">
            <a:spLocks/>
          </p:cNvSpPr>
          <p:nvPr userDrawn="1"/>
        </p:nvSpPr>
        <p:spPr>
          <a:xfrm>
            <a:off x="768589" y="7223062"/>
            <a:ext cx="585097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lang="en-GB" sz="992" b="1" dirty="0">
                <a:solidFill>
                  <a:srgbClr val="E64B00"/>
                </a:solidFill>
              </a:rPr>
              <a:t>sidel.com</a:t>
            </a:r>
          </a:p>
        </p:txBody>
      </p:sp>
      <p:pic>
        <p:nvPicPr>
          <p:cNvPr id="6" name="Picture 1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693400" cy="7561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57449" y="661139"/>
            <a:ext cx="9423559" cy="678676"/>
          </a:xfrm>
        </p:spPr>
        <p:txBody>
          <a:bodyPr/>
          <a:lstStyle>
            <a:lvl1pPr>
              <a:defRPr sz="441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757450" y="2377204"/>
            <a:ext cx="7494662" cy="951030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205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26912928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757449" y="1641776"/>
            <a:ext cx="4546552" cy="4956827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5560198" y="1641776"/>
            <a:ext cx="4544695" cy="2359393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>
          <a:xfrm>
            <a:off x="5560198" y="4239208"/>
            <a:ext cx="4544695" cy="2359394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00131486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umn text+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757449" y="1641776"/>
            <a:ext cx="4546552" cy="2359393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59306" y="4239209"/>
            <a:ext cx="4544695" cy="2359393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5556485" y="1641774"/>
            <a:ext cx="4548408" cy="2359394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/>
          </p:nvPr>
        </p:nvSpPr>
        <p:spPr>
          <a:xfrm>
            <a:off x="5556485" y="4239209"/>
            <a:ext cx="4548408" cy="2359393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91188234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757449" y="1641776"/>
            <a:ext cx="6148705" cy="4956827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162350" y="1641776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7162350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7162350" y="4239208"/>
            <a:ext cx="2942542" cy="1988332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7162350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0227203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757449" y="1641776"/>
            <a:ext cx="4546552" cy="4956827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5556485" y="1641776"/>
            <a:ext cx="4548408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5556485" y="3630106"/>
            <a:ext cx="4548408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5556485" y="4239208"/>
            <a:ext cx="4548408" cy="1988332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5556485" y="6227540"/>
            <a:ext cx="4548408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495206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photos with title +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57449" y="1641776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757449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757449" y="4239208"/>
            <a:ext cx="2942542" cy="1988332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757449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>
          <a:xfrm>
            <a:off x="3958044" y="1641774"/>
            <a:ext cx="2946255" cy="4956828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7"/>
          </p:nvPr>
        </p:nvSpPr>
        <p:spPr>
          <a:xfrm>
            <a:off x="7156781" y="1641775"/>
            <a:ext cx="2948111" cy="1988331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8"/>
          </p:nvPr>
        </p:nvSpPr>
        <p:spPr>
          <a:xfrm>
            <a:off x="7157400" y="3630105"/>
            <a:ext cx="294749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19"/>
          </p:nvPr>
        </p:nvSpPr>
        <p:spPr>
          <a:xfrm>
            <a:off x="7162350" y="4239208"/>
            <a:ext cx="2942542" cy="1988332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20"/>
          </p:nvPr>
        </p:nvSpPr>
        <p:spPr>
          <a:xfrm>
            <a:off x="7162350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1020309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757450" y="952779"/>
            <a:ext cx="9347444" cy="373271"/>
          </a:xfrm>
        </p:spPr>
        <p:txBody>
          <a:bodyPr>
            <a:noAutofit/>
          </a:bodyPr>
          <a:lstStyle>
            <a:lvl1pPr>
              <a:defRPr sz="2536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2361459" y="1641776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2361459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5556484" y="1641776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15"/>
          </p:nvPr>
        </p:nvSpPr>
        <p:spPr>
          <a:xfrm>
            <a:off x="5556484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2361459" y="4239210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2361459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5556484" y="4239210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1" name="Textplatzhalter 6"/>
          <p:cNvSpPr>
            <a:spLocks noGrp="1"/>
          </p:cNvSpPr>
          <p:nvPr>
            <p:ph type="body" sz="quarter" idx="19"/>
          </p:nvPr>
        </p:nvSpPr>
        <p:spPr>
          <a:xfrm>
            <a:off x="5556484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1329393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757450" y="952779"/>
            <a:ext cx="9347444" cy="373271"/>
          </a:xfrm>
        </p:spPr>
        <p:txBody>
          <a:bodyPr>
            <a:noAutofit/>
          </a:bodyPr>
          <a:lstStyle>
            <a:lvl1pPr>
              <a:defRPr sz="2536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2361459" y="1641776"/>
            <a:ext cx="2942542" cy="2359393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5556484" y="1641776"/>
            <a:ext cx="2942542" cy="2359393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2361459" y="4239210"/>
            <a:ext cx="2942542" cy="2359393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5556484" y="4239210"/>
            <a:ext cx="2942542" cy="2359393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83349640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757450" y="952779"/>
            <a:ext cx="9347444" cy="373271"/>
          </a:xfrm>
        </p:spPr>
        <p:txBody>
          <a:bodyPr>
            <a:noAutofit/>
          </a:bodyPr>
          <a:lstStyle>
            <a:lvl1pPr>
              <a:defRPr sz="2536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57450" y="1641776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757450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757450" y="4239210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757450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3959900" y="1641776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19"/>
          </p:nvPr>
        </p:nvSpPr>
        <p:spPr>
          <a:xfrm>
            <a:off x="3959900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Bildplatzhalter 10"/>
          <p:cNvSpPr>
            <a:spLocks noGrp="1"/>
          </p:cNvSpPr>
          <p:nvPr>
            <p:ph type="pic" sz="quarter" idx="20"/>
          </p:nvPr>
        </p:nvSpPr>
        <p:spPr>
          <a:xfrm>
            <a:off x="3959900" y="4239210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3959900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Bildplatzhalter 10"/>
          <p:cNvSpPr>
            <a:spLocks noGrp="1"/>
          </p:cNvSpPr>
          <p:nvPr>
            <p:ph type="pic" sz="quarter" idx="22"/>
          </p:nvPr>
        </p:nvSpPr>
        <p:spPr>
          <a:xfrm>
            <a:off x="7162350" y="1641776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7162350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Bildplatzhalter 10"/>
          <p:cNvSpPr>
            <a:spLocks noGrp="1"/>
          </p:cNvSpPr>
          <p:nvPr>
            <p:ph type="pic" sz="quarter" idx="24"/>
          </p:nvPr>
        </p:nvSpPr>
        <p:spPr>
          <a:xfrm>
            <a:off x="7162350" y="4239210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6" name="Textplatzhalter 6"/>
          <p:cNvSpPr>
            <a:spLocks noGrp="1"/>
          </p:cNvSpPr>
          <p:nvPr>
            <p:ph type="body" sz="quarter" idx="25"/>
          </p:nvPr>
        </p:nvSpPr>
        <p:spPr>
          <a:xfrm>
            <a:off x="7162350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2847387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757450" y="952779"/>
            <a:ext cx="9347444" cy="373271"/>
          </a:xfrm>
        </p:spPr>
        <p:txBody>
          <a:bodyPr>
            <a:noAutofit/>
          </a:bodyPr>
          <a:lstStyle>
            <a:lvl1pPr>
              <a:defRPr sz="2536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1"/>
          </p:nvPr>
        </p:nvSpPr>
        <p:spPr>
          <a:xfrm>
            <a:off x="757448" y="1636524"/>
            <a:ext cx="2947414" cy="2364644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2"/>
          </p:nvPr>
        </p:nvSpPr>
        <p:spPr>
          <a:xfrm>
            <a:off x="3957464" y="1636524"/>
            <a:ext cx="2947414" cy="2364644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/>
          </p:nvPr>
        </p:nvSpPr>
        <p:spPr>
          <a:xfrm>
            <a:off x="7157479" y="1636524"/>
            <a:ext cx="2947414" cy="2364644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4"/>
          </p:nvPr>
        </p:nvSpPr>
        <p:spPr>
          <a:xfrm>
            <a:off x="757449" y="4239208"/>
            <a:ext cx="2948111" cy="2359394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5"/>
          </p:nvPr>
        </p:nvSpPr>
        <p:spPr>
          <a:xfrm>
            <a:off x="3958044" y="4239208"/>
            <a:ext cx="2946255" cy="2359394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8" name="Bildplatzhalter 17"/>
          <p:cNvSpPr>
            <a:spLocks noGrp="1"/>
          </p:cNvSpPr>
          <p:nvPr>
            <p:ph type="pic" sz="quarter" idx="16"/>
          </p:nvPr>
        </p:nvSpPr>
        <p:spPr>
          <a:xfrm>
            <a:off x="7156781" y="4239208"/>
            <a:ext cx="2948111" cy="2359394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04224645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693400" cy="7561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1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5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757449" y="2764944"/>
            <a:ext cx="9347443" cy="67864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41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757449" y="4251715"/>
            <a:ext cx="9347443" cy="339338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0"/>
              </a:spcBef>
              <a:buSzTx/>
              <a:defRPr sz="2205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379092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0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8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/>
          <p:cNvSpPr txBox="1">
            <a:spLocks/>
          </p:cNvSpPr>
          <p:nvPr/>
        </p:nvSpPr>
        <p:spPr>
          <a:xfrm>
            <a:off x="1611436" y="7135547"/>
            <a:ext cx="1197444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lang="en-GB" sz="992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z="992" smtClean="0">
                <a:solidFill>
                  <a:srgbClr val="7F7F7F"/>
                </a:solidFill>
              </a:rPr>
              <a:pPr>
                <a:defRPr/>
              </a:pPr>
              <a:t>05 August 2020</a:t>
            </a:fld>
            <a:endParaRPr lang="en-GB" sz="992" dirty="0">
              <a:solidFill>
                <a:srgbClr val="7F7F7F"/>
              </a:solidFill>
            </a:endParaRPr>
          </a:p>
        </p:txBody>
      </p:sp>
      <p:sp>
        <p:nvSpPr>
          <p:cNvPr id="5" name="Slide Number Placeholder 4"/>
          <p:cNvSpPr txBox="1">
            <a:spLocks/>
          </p:cNvSpPr>
          <p:nvPr/>
        </p:nvSpPr>
        <p:spPr>
          <a:xfrm>
            <a:off x="757450" y="7135547"/>
            <a:ext cx="564257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lang="en-GB" sz="992" dirty="0">
                <a:solidFill>
                  <a:srgbClr val="7F7F7F"/>
                </a:solidFill>
              </a:rPr>
              <a:t>Page </a:t>
            </a:r>
            <a:fld id="{12A34401-8199-4818-BD09-7935527FCC48}" type="slidenum">
              <a:rPr lang="en-GB" sz="992" smtClean="0">
                <a:solidFill>
                  <a:srgbClr val="7F7F7F"/>
                </a:solidFill>
              </a:rPr>
              <a:pPr>
                <a:defRPr/>
              </a:pPr>
              <a:t>‹#›</a:t>
            </a:fld>
            <a:endParaRPr lang="en-GB" sz="992" dirty="0">
              <a:solidFill>
                <a:srgbClr val="7F7F7F"/>
              </a:solidFill>
            </a:endParaRPr>
          </a:p>
        </p:txBody>
      </p:sp>
      <p:grpSp>
        <p:nvGrpSpPr>
          <p:cNvPr id="6" name="Group 7"/>
          <p:cNvGrpSpPr>
            <a:grpSpLocks/>
          </p:cNvGrpSpPr>
          <p:nvPr/>
        </p:nvGrpSpPr>
        <p:grpSpPr bwMode="auto">
          <a:xfrm>
            <a:off x="9031839" y="7165697"/>
            <a:ext cx="1076766" cy="278297"/>
            <a:chOff x="1005" y="1644"/>
            <a:chExt cx="3749" cy="1030"/>
          </a:xfrm>
        </p:grpSpPr>
        <p:sp>
          <p:nvSpPr>
            <p:cNvPr id="7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103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8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848 w 501"/>
                <a:gd name="T1" fmla="*/ 740 h 429"/>
                <a:gd name="T2" fmla="*/ 800 w 501"/>
                <a:gd name="T3" fmla="*/ 678 h 429"/>
                <a:gd name="T4" fmla="*/ 782 w 501"/>
                <a:gd name="T5" fmla="*/ 655 h 429"/>
                <a:gd name="T6" fmla="*/ 680 w 501"/>
                <a:gd name="T7" fmla="*/ 607 h 429"/>
                <a:gd name="T8" fmla="*/ 548 w 501"/>
                <a:gd name="T9" fmla="*/ 740 h 429"/>
                <a:gd name="T10" fmla="*/ 680 w 501"/>
                <a:gd name="T11" fmla="*/ 870 h 429"/>
                <a:gd name="T12" fmla="*/ 782 w 501"/>
                <a:gd name="T13" fmla="*/ 823 h 429"/>
                <a:gd name="T14" fmla="*/ 800 w 501"/>
                <a:gd name="T15" fmla="*/ 799 h 429"/>
                <a:gd name="T16" fmla="*/ 848 w 501"/>
                <a:gd name="T17" fmla="*/ 740 h 429"/>
                <a:gd name="T18" fmla="*/ 383 w 501"/>
                <a:gd name="T19" fmla="*/ 737 h 429"/>
                <a:gd name="T20" fmla="*/ 680 w 501"/>
                <a:gd name="T21" fmla="*/ 444 h 429"/>
                <a:gd name="T22" fmla="*/ 907 w 501"/>
                <a:gd name="T23" fmla="*/ 548 h 429"/>
                <a:gd name="T24" fmla="*/ 909 w 501"/>
                <a:gd name="T25" fmla="*/ 553 h 429"/>
                <a:gd name="T26" fmla="*/ 914 w 501"/>
                <a:gd name="T27" fmla="*/ 551 h 429"/>
                <a:gd name="T28" fmla="*/ 590 w 501"/>
                <a:gd name="T29" fmla="*/ 0 h 429"/>
                <a:gd name="T30" fmla="*/ 0 w 501"/>
                <a:gd name="T31" fmla="*/ 1014 h 429"/>
                <a:gd name="T32" fmla="*/ 576 w 501"/>
                <a:gd name="T33" fmla="*/ 1014 h 429"/>
                <a:gd name="T34" fmla="*/ 579 w 501"/>
                <a:gd name="T35" fmla="*/ 1012 h 429"/>
                <a:gd name="T36" fmla="*/ 519 w 501"/>
                <a:gd name="T37" fmla="*/ 986 h 429"/>
                <a:gd name="T38" fmla="*/ 383 w 501"/>
                <a:gd name="T39" fmla="*/ 737 h 429"/>
                <a:gd name="T40" fmla="*/ 1171 w 501"/>
                <a:gd name="T41" fmla="*/ 1009 h 429"/>
                <a:gd name="T42" fmla="*/ 1110 w 501"/>
                <a:gd name="T43" fmla="*/ 993 h 429"/>
                <a:gd name="T44" fmla="*/ 956 w 501"/>
                <a:gd name="T45" fmla="*/ 867 h 429"/>
                <a:gd name="T46" fmla="*/ 897 w 501"/>
                <a:gd name="T47" fmla="*/ 941 h 429"/>
                <a:gd name="T48" fmla="*/ 786 w 501"/>
                <a:gd name="T49" fmla="*/ 1012 h 429"/>
                <a:gd name="T50" fmla="*/ 786 w 501"/>
                <a:gd name="T51" fmla="*/ 1014 h 429"/>
                <a:gd name="T52" fmla="*/ 1183 w 501"/>
                <a:gd name="T53" fmla="*/ 1014 h 429"/>
                <a:gd name="T54" fmla="*/ 1183 w 501"/>
                <a:gd name="T55" fmla="*/ 1012 h 429"/>
                <a:gd name="T56" fmla="*/ 1171 w 501"/>
                <a:gd name="T57" fmla="*/ 1009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103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9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404 w 937"/>
                <a:gd name="T1" fmla="*/ 321 h 326"/>
                <a:gd name="T2" fmla="*/ 184 w 937"/>
                <a:gd name="T3" fmla="*/ 210 h 326"/>
                <a:gd name="T4" fmla="*/ 295 w 937"/>
                <a:gd name="T5" fmla="*/ 125 h 326"/>
                <a:gd name="T6" fmla="*/ 439 w 937"/>
                <a:gd name="T7" fmla="*/ 236 h 326"/>
                <a:gd name="T8" fmla="*/ 598 w 937"/>
                <a:gd name="T9" fmla="*/ 236 h 326"/>
                <a:gd name="T10" fmla="*/ 302 w 937"/>
                <a:gd name="T11" fmla="*/ 0 h 326"/>
                <a:gd name="T12" fmla="*/ 28 w 937"/>
                <a:gd name="T13" fmla="*/ 222 h 326"/>
                <a:gd name="T14" fmla="*/ 246 w 937"/>
                <a:gd name="T15" fmla="*/ 432 h 326"/>
                <a:gd name="T16" fmla="*/ 465 w 937"/>
                <a:gd name="T17" fmla="*/ 553 h 326"/>
                <a:gd name="T18" fmla="*/ 321 w 937"/>
                <a:gd name="T19" fmla="*/ 645 h 326"/>
                <a:gd name="T20" fmla="*/ 158 w 937"/>
                <a:gd name="T21" fmla="*/ 508 h 326"/>
                <a:gd name="T22" fmla="*/ 2 w 937"/>
                <a:gd name="T23" fmla="*/ 508 h 326"/>
                <a:gd name="T24" fmla="*/ 317 w 937"/>
                <a:gd name="T25" fmla="*/ 770 h 326"/>
                <a:gd name="T26" fmla="*/ 621 w 937"/>
                <a:gd name="T27" fmla="*/ 534 h 326"/>
                <a:gd name="T28" fmla="*/ 404 w 937"/>
                <a:gd name="T29" fmla="*/ 321 h 326"/>
                <a:gd name="T30" fmla="*/ 1278 w 937"/>
                <a:gd name="T31" fmla="*/ 286 h 326"/>
                <a:gd name="T32" fmla="*/ 1278 w 937"/>
                <a:gd name="T33" fmla="*/ 286 h 326"/>
                <a:gd name="T34" fmla="*/ 1118 w 937"/>
                <a:gd name="T35" fmla="*/ 205 h 326"/>
                <a:gd name="T36" fmla="*/ 884 w 937"/>
                <a:gd name="T37" fmla="*/ 482 h 326"/>
                <a:gd name="T38" fmla="*/ 1122 w 937"/>
                <a:gd name="T39" fmla="*/ 768 h 326"/>
                <a:gd name="T40" fmla="*/ 1283 w 937"/>
                <a:gd name="T41" fmla="*/ 685 h 326"/>
                <a:gd name="T42" fmla="*/ 1285 w 937"/>
                <a:gd name="T43" fmla="*/ 685 h 326"/>
                <a:gd name="T44" fmla="*/ 1285 w 937"/>
                <a:gd name="T45" fmla="*/ 753 h 326"/>
                <a:gd name="T46" fmla="*/ 1425 w 937"/>
                <a:gd name="T47" fmla="*/ 753 h 326"/>
                <a:gd name="T48" fmla="*/ 1425 w 937"/>
                <a:gd name="T49" fmla="*/ 19 h 326"/>
                <a:gd name="T50" fmla="*/ 1278 w 937"/>
                <a:gd name="T51" fmla="*/ 19 h 326"/>
                <a:gd name="T52" fmla="*/ 1278 w 937"/>
                <a:gd name="T53" fmla="*/ 286 h 326"/>
                <a:gd name="T54" fmla="*/ 1158 w 937"/>
                <a:gd name="T55" fmla="*/ 657 h 326"/>
                <a:gd name="T56" fmla="*/ 1030 w 937"/>
                <a:gd name="T57" fmla="*/ 487 h 326"/>
                <a:gd name="T58" fmla="*/ 1158 w 937"/>
                <a:gd name="T59" fmla="*/ 317 h 326"/>
                <a:gd name="T60" fmla="*/ 1283 w 937"/>
                <a:gd name="T61" fmla="*/ 484 h 326"/>
                <a:gd name="T62" fmla="*/ 1158 w 937"/>
                <a:gd name="T63" fmla="*/ 657 h 326"/>
                <a:gd name="T64" fmla="*/ 1751 w 937"/>
                <a:gd name="T65" fmla="*/ 205 h 326"/>
                <a:gd name="T66" fmla="*/ 1479 w 937"/>
                <a:gd name="T67" fmla="*/ 487 h 326"/>
                <a:gd name="T68" fmla="*/ 1751 w 937"/>
                <a:gd name="T69" fmla="*/ 768 h 326"/>
                <a:gd name="T70" fmla="*/ 1999 w 937"/>
                <a:gd name="T71" fmla="*/ 588 h 326"/>
                <a:gd name="T72" fmla="*/ 1871 w 937"/>
                <a:gd name="T73" fmla="*/ 588 h 326"/>
                <a:gd name="T74" fmla="*/ 1756 w 937"/>
                <a:gd name="T75" fmla="*/ 657 h 326"/>
                <a:gd name="T76" fmla="*/ 1623 w 937"/>
                <a:gd name="T77" fmla="*/ 522 h 326"/>
                <a:gd name="T78" fmla="*/ 2008 w 937"/>
                <a:gd name="T79" fmla="*/ 522 h 326"/>
                <a:gd name="T80" fmla="*/ 1751 w 937"/>
                <a:gd name="T81" fmla="*/ 205 h 326"/>
                <a:gd name="T82" fmla="*/ 1623 w 937"/>
                <a:gd name="T83" fmla="*/ 430 h 326"/>
                <a:gd name="T84" fmla="*/ 1746 w 937"/>
                <a:gd name="T85" fmla="*/ 317 h 326"/>
                <a:gd name="T86" fmla="*/ 1862 w 937"/>
                <a:gd name="T87" fmla="*/ 430 h 326"/>
                <a:gd name="T88" fmla="*/ 1623 w 937"/>
                <a:gd name="T89" fmla="*/ 430 h 326"/>
                <a:gd name="T90" fmla="*/ 2068 w 937"/>
                <a:gd name="T91" fmla="*/ 753 h 326"/>
                <a:gd name="T92" fmla="*/ 2214 w 937"/>
                <a:gd name="T93" fmla="*/ 753 h 326"/>
                <a:gd name="T94" fmla="*/ 2214 w 937"/>
                <a:gd name="T95" fmla="*/ 19 h 326"/>
                <a:gd name="T96" fmla="*/ 2068 w 937"/>
                <a:gd name="T97" fmla="*/ 19 h 326"/>
                <a:gd name="T98" fmla="*/ 2068 w 937"/>
                <a:gd name="T99" fmla="*/ 753 h 326"/>
                <a:gd name="T100" fmla="*/ 676 w 937"/>
                <a:gd name="T101" fmla="*/ 753 h 326"/>
                <a:gd name="T102" fmla="*/ 822 w 937"/>
                <a:gd name="T103" fmla="*/ 753 h 326"/>
                <a:gd name="T104" fmla="*/ 822 w 937"/>
                <a:gd name="T105" fmla="*/ 220 h 326"/>
                <a:gd name="T106" fmla="*/ 676 w 937"/>
                <a:gd name="T107" fmla="*/ 220 h 326"/>
                <a:gd name="T108" fmla="*/ 676 w 937"/>
                <a:gd name="T109" fmla="*/ 753 h 326"/>
                <a:gd name="T110" fmla="*/ 676 w 937"/>
                <a:gd name="T111" fmla="*/ 139 h 326"/>
                <a:gd name="T112" fmla="*/ 822 w 937"/>
                <a:gd name="T113" fmla="*/ 139 h 326"/>
                <a:gd name="T114" fmla="*/ 822 w 937"/>
                <a:gd name="T115" fmla="*/ 19 h 326"/>
                <a:gd name="T116" fmla="*/ 676 w 937"/>
                <a:gd name="T117" fmla="*/ 19 h 326"/>
                <a:gd name="T118" fmla="*/ 676 w 937"/>
                <a:gd name="T119" fmla="*/ 139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103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</p:grpSp>
      <p:cxnSp>
        <p:nvCxnSpPr>
          <p:cNvPr id="10" name="Straight Connector 9"/>
          <p:cNvCxnSpPr/>
          <p:nvPr/>
        </p:nvCxnSpPr>
        <p:spPr>
          <a:xfrm>
            <a:off x="757450" y="7036175"/>
            <a:ext cx="934744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1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11" name="Objekt 8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22844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693400" cy="7561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Objekt 9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5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9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feld 100"/>
          <p:cNvSpPr txBox="1">
            <a:spLocks noChangeArrowheads="1"/>
          </p:cNvSpPr>
          <p:nvPr userDrawn="1"/>
        </p:nvSpPr>
        <p:spPr bwMode="auto">
          <a:xfrm>
            <a:off x="4232805" y="2322639"/>
            <a:ext cx="6065163" cy="2368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just" fontAlgn="base">
              <a:spcBef>
                <a:spcPts val="882"/>
              </a:spcBef>
              <a:spcAft>
                <a:spcPct val="0"/>
              </a:spcAft>
            </a:pPr>
            <a:r>
              <a:rPr lang="en-GB" altLang="fr-FR" sz="992">
                <a:solidFill>
                  <a:srgbClr val="FFFFFF"/>
                </a:solidFill>
              </a:rPr>
              <a:t>                                                             The Sidel Group is formed by the union of two strong brands, 		 Sidel and Gebo Cermex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 fontAlgn="base">
              <a:spcBef>
                <a:spcPts val="882"/>
              </a:spcBef>
              <a:spcAft>
                <a:spcPct val="0"/>
              </a:spcAft>
            </a:pPr>
            <a:r>
              <a:rPr lang="en-GB" altLang="fr-FR" sz="992">
                <a:solidFill>
                  <a:srgbClr val="FFFFFF"/>
                </a:solidFill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altLang="fr-FR" sz="992" b="1">
                <a:solidFill>
                  <a:srgbClr val="FFFFFF"/>
                </a:solidFill>
              </a:rPr>
              <a:t>performance</a:t>
            </a:r>
            <a:r>
              <a:rPr lang="en-GB" altLang="fr-FR" sz="992">
                <a:solidFill>
                  <a:srgbClr val="FFFFFF"/>
                </a:solidFill>
              </a:rPr>
              <a:t> of their lines, products	          and businesses. </a:t>
            </a:r>
          </a:p>
          <a:p>
            <a:pPr algn="just" fontAlgn="base">
              <a:spcBef>
                <a:spcPts val="882"/>
              </a:spcBef>
              <a:spcAft>
                <a:spcPct val="0"/>
              </a:spcAft>
            </a:pPr>
            <a:r>
              <a:rPr lang="en-GB" altLang="fr-FR" sz="992">
                <a:solidFill>
                  <a:srgbClr val="FFFFFF"/>
                </a:solidFill>
              </a:rPr>
              <a:t>	       Delivering this level of performance requires that we continuously </a:t>
            </a:r>
            <a:r>
              <a:rPr lang="en-GB" altLang="fr-FR" sz="992" b="1">
                <a:solidFill>
                  <a:srgbClr val="FFFFFF"/>
                </a:solidFill>
              </a:rPr>
              <a:t>understand</a:t>
            </a:r>
            <a:r>
              <a:rPr lang="en-GB" altLang="fr-FR" sz="992">
                <a:solidFill>
                  <a:srgbClr val="FFFFFF"/>
                </a:solidFill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altLang="fr-FR" sz="992">
                <a:solidFill>
                  <a:srgbClr val="FFFFFF"/>
                </a:solidFill>
              </a:rPr>
            </a:br>
            <a:r>
              <a:rPr lang="en-GB" altLang="fr-FR" sz="992">
                <a:solidFill>
                  <a:srgbClr val="FFFFFF"/>
                </a:solidFill>
              </a:rPr>
              <a:t>                           value chains. We complement this by applying our strong technical knowledge and</a:t>
            </a:r>
            <a:br>
              <a:rPr lang="en-GB" altLang="fr-FR" sz="992">
                <a:solidFill>
                  <a:srgbClr val="FFFFFF"/>
                </a:solidFill>
              </a:rPr>
            </a:br>
            <a:r>
              <a:rPr lang="en-GB" altLang="fr-FR" sz="992">
                <a:solidFill>
                  <a:srgbClr val="FFFFFF"/>
                </a:solidFill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5" name="Textfeld 110"/>
          <p:cNvSpPr txBox="1">
            <a:spLocks noChangeArrowheads="1"/>
          </p:cNvSpPr>
          <p:nvPr userDrawn="1"/>
        </p:nvSpPr>
        <p:spPr bwMode="auto">
          <a:xfrm>
            <a:off x="4232805" y="5014588"/>
            <a:ext cx="6065163" cy="1697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fontAlgn="base">
              <a:spcBef>
                <a:spcPts val="882"/>
              </a:spcBef>
              <a:spcAft>
                <a:spcPct val="0"/>
              </a:spcAft>
            </a:pPr>
            <a:r>
              <a:rPr lang="en-GB" altLang="fr-FR" sz="1103" b="1">
                <a:solidFill>
                  <a:srgbClr val="FFFFFF"/>
                </a:solidFill>
              </a:rPr>
              <a:t>                </a:t>
            </a:r>
            <a:r>
              <a:rPr lang="en-GB" altLang="fr-FR" sz="992">
                <a:solidFill>
                  <a:srgbClr val="FFFFFF"/>
                </a:solidFill>
              </a:rPr>
              <a:t>We call it </a:t>
            </a:r>
            <a:r>
              <a:rPr lang="en-GB" altLang="fr-FR" sz="1103" b="1">
                <a:solidFill>
                  <a:srgbClr val="FFFFFF"/>
                </a:solidFill>
              </a:rPr>
              <a:t>Performance through Understanding.</a:t>
            </a:r>
          </a:p>
        </p:txBody>
      </p:sp>
      <p:sp>
        <p:nvSpPr>
          <p:cNvPr id="6" name="Slide Number Placeholder 4"/>
          <p:cNvSpPr txBox="1">
            <a:spLocks/>
          </p:cNvSpPr>
          <p:nvPr userDrawn="1"/>
        </p:nvSpPr>
        <p:spPr>
          <a:xfrm>
            <a:off x="768589" y="7223062"/>
            <a:ext cx="585097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lang="en-GB" sz="992" b="1" dirty="0">
                <a:solidFill>
                  <a:srgbClr val="E64B00"/>
                </a:solidFill>
              </a:rPr>
              <a:t>sidel.com</a:t>
            </a:r>
          </a:p>
        </p:txBody>
      </p:sp>
    </p:spTree>
    <p:extLst>
      <p:ext uri="{BB962C8B-B14F-4D97-AF65-F5344CB8AC3E}">
        <p14:creationId xmlns:p14="http://schemas.microsoft.com/office/powerpoint/2010/main" val="333628422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7800" y="369133"/>
            <a:ext cx="9346200" cy="50905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757801" y="1130690"/>
            <a:ext cx="9353012" cy="276999"/>
          </a:xfrm>
        </p:spPr>
        <p:txBody>
          <a:bodyPr>
            <a:spAutoFit/>
          </a:bodyPr>
          <a:lstStyle/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47617488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4" hidden="1">
            <a:extLst>
              <a:ext uri="{FF2B5EF4-FFF2-40B4-BE49-F238E27FC236}">
                <a16:creationId xmlns:a16="http://schemas.microsoft.com/office/drawing/2014/main" id="{30A8CE32-E3E5-40B7-B631-13AF9166927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2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84" hidden="1">
                        <a:extLst>
                          <a:ext uri="{FF2B5EF4-FFF2-40B4-BE49-F238E27FC236}">
                            <a16:creationId xmlns:a16="http://schemas.microsoft.com/office/drawing/2014/main" id="{30A8CE32-E3E5-40B7-B631-13AF9166927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217E170-7CEB-440A-943C-1E03678B1948}"/>
              </a:ext>
            </a:extLst>
          </p:cNvPr>
          <p:cNvSpPr txBox="1">
            <a:spLocks/>
          </p:cNvSpPr>
          <p:nvPr/>
        </p:nvSpPr>
        <p:spPr>
          <a:xfrm>
            <a:off x="1611437" y="7135547"/>
            <a:ext cx="2919069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SzPct val="100000"/>
              <a:defRPr/>
            </a:pPr>
            <a:r>
              <a:rPr lang="de-CH" altLang="fr-FR" sz="992">
                <a:solidFill>
                  <a:srgbClr val="7F7F7F"/>
                </a:solidFill>
              </a:rPr>
              <a:t>Sidel Services: Line Improvement, </a:t>
            </a:r>
            <a:fld id="{28D42760-A8C4-47D6-9CEA-D7BA0EA39985}" type="datetime4">
              <a:rPr lang="de-CH" altLang="fr-FR" sz="992" smtClean="0">
                <a:solidFill>
                  <a:srgbClr val="7F7F7F"/>
                </a:solidFill>
              </a:rPr>
              <a:pPr>
                <a:buSzPct val="100000"/>
                <a:defRPr/>
              </a:pPr>
              <a:t>5. August 2020</a:t>
            </a:fld>
            <a:endParaRPr lang="de-CH" altLang="fr-FR" sz="992">
              <a:solidFill>
                <a:srgbClr val="7F7F7F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16C1369-72F8-4CD9-8750-170A89B0871C}"/>
              </a:ext>
            </a:extLst>
          </p:cNvPr>
          <p:cNvSpPr txBox="1">
            <a:spLocks/>
          </p:cNvSpPr>
          <p:nvPr/>
        </p:nvSpPr>
        <p:spPr>
          <a:xfrm>
            <a:off x="757450" y="7135547"/>
            <a:ext cx="676467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SzPct val="100000"/>
            </a:pPr>
            <a:r>
              <a:rPr lang="de-CH" altLang="fr-FR" sz="992">
                <a:solidFill>
                  <a:srgbClr val="7F7F7F"/>
                </a:solidFill>
              </a:rPr>
              <a:t>Página </a:t>
            </a:r>
            <a:fld id="{A69ED0C3-2E19-403B-A0DA-A3A4816839A4}" type="slidenum">
              <a:rPr lang="de-CH" altLang="fr-FR" sz="992">
                <a:solidFill>
                  <a:srgbClr val="7F7F7F"/>
                </a:solidFill>
              </a:rPr>
              <a:pPr>
                <a:buSzPct val="100000"/>
              </a:pPr>
              <a:t>‹#›</a:t>
            </a:fld>
            <a:endParaRPr lang="de-CH" altLang="fr-FR" sz="992">
              <a:solidFill>
                <a:srgbClr val="7F7F7F"/>
              </a:solidFill>
            </a:endParaRPr>
          </a:p>
        </p:txBody>
      </p:sp>
      <p:grpSp>
        <p:nvGrpSpPr>
          <p:cNvPr id="6" name="Group 7">
            <a:extLst>
              <a:ext uri="{FF2B5EF4-FFF2-40B4-BE49-F238E27FC236}">
                <a16:creationId xmlns:a16="http://schemas.microsoft.com/office/drawing/2014/main" id="{BA780E98-72C6-4930-9038-661D7A62C9B6}"/>
              </a:ext>
            </a:extLst>
          </p:cNvPr>
          <p:cNvGrpSpPr>
            <a:grpSpLocks/>
          </p:cNvGrpSpPr>
          <p:nvPr/>
        </p:nvGrpSpPr>
        <p:grpSpPr bwMode="auto">
          <a:xfrm>
            <a:off x="9031839" y="7165697"/>
            <a:ext cx="1076766" cy="278297"/>
            <a:chOff x="1005" y="1644"/>
            <a:chExt cx="3749" cy="1030"/>
          </a:xfrm>
        </p:grpSpPr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B1B75DEA-968B-4272-AF3C-9EE45FFE35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103"/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DC281DD8-796B-4D74-84D1-C99978CBFA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2002 w 501"/>
                <a:gd name="T1" fmla="*/ 1749 h 429"/>
                <a:gd name="T2" fmla="*/ 1889 w 501"/>
                <a:gd name="T3" fmla="*/ 1603 h 429"/>
                <a:gd name="T4" fmla="*/ 1847 w 501"/>
                <a:gd name="T5" fmla="*/ 1548 h 429"/>
                <a:gd name="T6" fmla="*/ 1606 w 501"/>
                <a:gd name="T7" fmla="*/ 1435 h 429"/>
                <a:gd name="T8" fmla="*/ 1294 w 501"/>
                <a:gd name="T9" fmla="*/ 1749 h 429"/>
                <a:gd name="T10" fmla="*/ 1606 w 501"/>
                <a:gd name="T11" fmla="*/ 2056 h 429"/>
                <a:gd name="T12" fmla="*/ 1847 w 501"/>
                <a:gd name="T13" fmla="*/ 1945 h 429"/>
                <a:gd name="T14" fmla="*/ 1889 w 501"/>
                <a:gd name="T15" fmla="*/ 1889 h 429"/>
                <a:gd name="T16" fmla="*/ 2002 w 501"/>
                <a:gd name="T17" fmla="*/ 1749 h 429"/>
                <a:gd name="T18" fmla="*/ 904 w 501"/>
                <a:gd name="T19" fmla="*/ 1742 h 429"/>
                <a:gd name="T20" fmla="*/ 1606 w 501"/>
                <a:gd name="T21" fmla="*/ 1049 h 429"/>
                <a:gd name="T22" fmla="*/ 2142 w 501"/>
                <a:gd name="T23" fmla="*/ 1295 h 429"/>
                <a:gd name="T24" fmla="*/ 2146 w 501"/>
                <a:gd name="T25" fmla="*/ 1307 h 429"/>
                <a:gd name="T26" fmla="*/ 2158 w 501"/>
                <a:gd name="T27" fmla="*/ 1302 h 429"/>
                <a:gd name="T28" fmla="*/ 1393 w 501"/>
                <a:gd name="T29" fmla="*/ 0 h 429"/>
                <a:gd name="T30" fmla="*/ 0 w 501"/>
                <a:gd name="T31" fmla="*/ 2397 h 429"/>
                <a:gd name="T32" fmla="*/ 1360 w 501"/>
                <a:gd name="T33" fmla="*/ 2397 h 429"/>
                <a:gd name="T34" fmla="*/ 1367 w 501"/>
                <a:gd name="T35" fmla="*/ 2392 h 429"/>
                <a:gd name="T36" fmla="*/ 1226 w 501"/>
                <a:gd name="T37" fmla="*/ 2331 h 429"/>
                <a:gd name="T38" fmla="*/ 904 w 501"/>
                <a:gd name="T39" fmla="*/ 1742 h 429"/>
                <a:gd name="T40" fmla="*/ 2765 w 501"/>
                <a:gd name="T41" fmla="*/ 2385 h 429"/>
                <a:gd name="T42" fmla="*/ 2621 w 501"/>
                <a:gd name="T43" fmla="*/ 2347 h 429"/>
                <a:gd name="T44" fmla="*/ 2257 w 501"/>
                <a:gd name="T45" fmla="*/ 2049 h 429"/>
                <a:gd name="T46" fmla="*/ 2118 w 501"/>
                <a:gd name="T47" fmla="*/ 2224 h 429"/>
                <a:gd name="T48" fmla="*/ 1856 w 501"/>
                <a:gd name="T49" fmla="*/ 2392 h 429"/>
                <a:gd name="T50" fmla="*/ 1856 w 501"/>
                <a:gd name="T51" fmla="*/ 2397 h 429"/>
                <a:gd name="T52" fmla="*/ 2793 w 501"/>
                <a:gd name="T53" fmla="*/ 2397 h 429"/>
                <a:gd name="T54" fmla="*/ 2793 w 501"/>
                <a:gd name="T55" fmla="*/ 2392 h 429"/>
                <a:gd name="T56" fmla="*/ 2765 w 501"/>
                <a:gd name="T57" fmla="*/ 2385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103"/>
            </a:p>
          </p:txBody>
        </p:sp>
        <p:sp>
          <p:nvSpPr>
            <p:cNvPr id="9" name="Freeform 10">
              <a:extLst>
                <a:ext uri="{FF2B5EF4-FFF2-40B4-BE49-F238E27FC236}">
                  <a16:creationId xmlns:a16="http://schemas.microsoft.com/office/drawing/2014/main" id="{0C99D6BC-DA3E-44C2-8D9B-A36B924F70C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955 w 937"/>
                <a:gd name="T1" fmla="*/ 758 h 326"/>
                <a:gd name="T2" fmla="*/ 435 w 937"/>
                <a:gd name="T3" fmla="*/ 496 h 326"/>
                <a:gd name="T4" fmla="*/ 697 w 937"/>
                <a:gd name="T5" fmla="*/ 295 h 326"/>
                <a:gd name="T6" fmla="*/ 1037 w 937"/>
                <a:gd name="T7" fmla="*/ 557 h 326"/>
                <a:gd name="T8" fmla="*/ 1413 w 937"/>
                <a:gd name="T9" fmla="*/ 557 h 326"/>
                <a:gd name="T10" fmla="*/ 714 w 937"/>
                <a:gd name="T11" fmla="*/ 0 h 326"/>
                <a:gd name="T12" fmla="*/ 66 w 937"/>
                <a:gd name="T13" fmla="*/ 524 h 326"/>
                <a:gd name="T14" fmla="*/ 581 w 937"/>
                <a:gd name="T15" fmla="*/ 1020 h 326"/>
                <a:gd name="T16" fmla="*/ 1099 w 937"/>
                <a:gd name="T17" fmla="*/ 1306 h 326"/>
                <a:gd name="T18" fmla="*/ 758 w 937"/>
                <a:gd name="T19" fmla="*/ 1523 h 326"/>
                <a:gd name="T20" fmla="*/ 373 w 937"/>
                <a:gd name="T21" fmla="*/ 1200 h 326"/>
                <a:gd name="T22" fmla="*/ 5 w 937"/>
                <a:gd name="T23" fmla="*/ 1200 h 326"/>
                <a:gd name="T24" fmla="*/ 749 w 937"/>
                <a:gd name="T25" fmla="*/ 1819 h 326"/>
                <a:gd name="T26" fmla="*/ 1467 w 937"/>
                <a:gd name="T27" fmla="*/ 1261 h 326"/>
                <a:gd name="T28" fmla="*/ 955 w 937"/>
                <a:gd name="T29" fmla="*/ 758 h 326"/>
                <a:gd name="T30" fmla="*/ 3020 w 937"/>
                <a:gd name="T31" fmla="*/ 676 h 326"/>
                <a:gd name="T32" fmla="*/ 3020 w 937"/>
                <a:gd name="T33" fmla="*/ 676 h 326"/>
                <a:gd name="T34" fmla="*/ 2642 w 937"/>
                <a:gd name="T35" fmla="*/ 484 h 326"/>
                <a:gd name="T36" fmla="*/ 2089 w 937"/>
                <a:gd name="T37" fmla="*/ 1138 h 326"/>
                <a:gd name="T38" fmla="*/ 2651 w 937"/>
                <a:gd name="T39" fmla="*/ 1814 h 326"/>
                <a:gd name="T40" fmla="*/ 3032 w 937"/>
                <a:gd name="T41" fmla="*/ 1618 h 326"/>
                <a:gd name="T42" fmla="*/ 3036 w 937"/>
                <a:gd name="T43" fmla="*/ 1618 h 326"/>
                <a:gd name="T44" fmla="*/ 3036 w 937"/>
                <a:gd name="T45" fmla="*/ 1779 h 326"/>
                <a:gd name="T46" fmla="*/ 3367 w 937"/>
                <a:gd name="T47" fmla="*/ 1779 h 326"/>
                <a:gd name="T48" fmla="*/ 3367 w 937"/>
                <a:gd name="T49" fmla="*/ 45 h 326"/>
                <a:gd name="T50" fmla="*/ 3020 w 937"/>
                <a:gd name="T51" fmla="*/ 45 h 326"/>
                <a:gd name="T52" fmla="*/ 3020 w 937"/>
                <a:gd name="T53" fmla="*/ 676 h 326"/>
                <a:gd name="T54" fmla="*/ 2736 w 937"/>
                <a:gd name="T55" fmla="*/ 1552 h 326"/>
                <a:gd name="T56" fmla="*/ 2434 w 937"/>
                <a:gd name="T57" fmla="*/ 1150 h 326"/>
                <a:gd name="T58" fmla="*/ 2736 w 937"/>
                <a:gd name="T59" fmla="*/ 749 h 326"/>
                <a:gd name="T60" fmla="*/ 3032 w 937"/>
                <a:gd name="T61" fmla="*/ 1143 h 326"/>
                <a:gd name="T62" fmla="*/ 2736 w 937"/>
                <a:gd name="T63" fmla="*/ 1552 h 326"/>
                <a:gd name="T64" fmla="*/ 4137 w 937"/>
                <a:gd name="T65" fmla="*/ 484 h 326"/>
                <a:gd name="T66" fmla="*/ 3495 w 937"/>
                <a:gd name="T67" fmla="*/ 1150 h 326"/>
                <a:gd name="T68" fmla="*/ 4137 w 937"/>
                <a:gd name="T69" fmla="*/ 1814 h 326"/>
                <a:gd name="T70" fmla="*/ 4723 w 937"/>
                <a:gd name="T71" fmla="*/ 1389 h 326"/>
                <a:gd name="T72" fmla="*/ 4421 w 937"/>
                <a:gd name="T73" fmla="*/ 1389 h 326"/>
                <a:gd name="T74" fmla="*/ 4149 w 937"/>
                <a:gd name="T75" fmla="*/ 1552 h 326"/>
                <a:gd name="T76" fmla="*/ 3835 w 937"/>
                <a:gd name="T77" fmla="*/ 1233 h 326"/>
                <a:gd name="T78" fmla="*/ 4745 w 937"/>
                <a:gd name="T79" fmla="*/ 1233 h 326"/>
                <a:gd name="T80" fmla="*/ 4137 w 937"/>
                <a:gd name="T81" fmla="*/ 484 h 326"/>
                <a:gd name="T82" fmla="*/ 3835 w 937"/>
                <a:gd name="T83" fmla="*/ 1016 h 326"/>
                <a:gd name="T84" fmla="*/ 4126 w 937"/>
                <a:gd name="T85" fmla="*/ 749 h 326"/>
                <a:gd name="T86" fmla="*/ 4400 w 937"/>
                <a:gd name="T87" fmla="*/ 1016 h 326"/>
                <a:gd name="T88" fmla="*/ 3835 w 937"/>
                <a:gd name="T89" fmla="*/ 1016 h 326"/>
                <a:gd name="T90" fmla="*/ 4886 w 937"/>
                <a:gd name="T91" fmla="*/ 1779 h 326"/>
                <a:gd name="T92" fmla="*/ 5231 w 937"/>
                <a:gd name="T93" fmla="*/ 1779 h 326"/>
                <a:gd name="T94" fmla="*/ 5231 w 937"/>
                <a:gd name="T95" fmla="*/ 45 h 326"/>
                <a:gd name="T96" fmla="*/ 4886 w 937"/>
                <a:gd name="T97" fmla="*/ 45 h 326"/>
                <a:gd name="T98" fmla="*/ 4886 w 937"/>
                <a:gd name="T99" fmla="*/ 1779 h 326"/>
                <a:gd name="T100" fmla="*/ 1597 w 937"/>
                <a:gd name="T101" fmla="*/ 1779 h 326"/>
                <a:gd name="T102" fmla="*/ 1942 w 937"/>
                <a:gd name="T103" fmla="*/ 1779 h 326"/>
                <a:gd name="T104" fmla="*/ 1942 w 937"/>
                <a:gd name="T105" fmla="*/ 520 h 326"/>
                <a:gd name="T106" fmla="*/ 1597 w 937"/>
                <a:gd name="T107" fmla="*/ 520 h 326"/>
                <a:gd name="T108" fmla="*/ 1597 w 937"/>
                <a:gd name="T109" fmla="*/ 1779 h 326"/>
                <a:gd name="T110" fmla="*/ 1597 w 937"/>
                <a:gd name="T111" fmla="*/ 328 h 326"/>
                <a:gd name="T112" fmla="*/ 1942 w 937"/>
                <a:gd name="T113" fmla="*/ 328 h 326"/>
                <a:gd name="T114" fmla="*/ 1942 w 937"/>
                <a:gd name="T115" fmla="*/ 45 h 326"/>
                <a:gd name="T116" fmla="*/ 1597 w 937"/>
                <a:gd name="T117" fmla="*/ 45 h 326"/>
                <a:gd name="T118" fmla="*/ 1597 w 937"/>
                <a:gd name="T119" fmla="*/ 328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103"/>
            </a:p>
          </p:txBody>
        </p:sp>
      </p:grpSp>
      <p:cxnSp>
        <p:nvCxnSpPr>
          <p:cNvPr id="10" name="Straight Connector 48">
            <a:extLst>
              <a:ext uri="{FF2B5EF4-FFF2-40B4-BE49-F238E27FC236}">
                <a16:creationId xmlns:a16="http://schemas.microsoft.com/office/drawing/2014/main" id="{73B01CEE-8BF1-4DB4-BE98-237110B8053F}"/>
              </a:ext>
            </a:extLst>
          </p:cNvPr>
          <p:cNvCxnSpPr/>
          <p:nvPr userDrawn="1"/>
        </p:nvCxnSpPr>
        <p:spPr>
          <a:xfrm>
            <a:off x="757450" y="7036175"/>
            <a:ext cx="934744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Objekt 82" hidden="1">
            <a:extLst>
              <a:ext uri="{FF2B5EF4-FFF2-40B4-BE49-F238E27FC236}">
                <a16:creationId xmlns:a16="http://schemas.microsoft.com/office/drawing/2014/main" id="{CE47C79F-A49D-4D47-87FF-F501D91167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3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11" name="Objekt 82" hidden="1">
                        <a:extLst>
                          <a:ext uri="{FF2B5EF4-FFF2-40B4-BE49-F238E27FC236}">
                            <a16:creationId xmlns:a16="http://schemas.microsoft.com/office/drawing/2014/main" id="{CE47C79F-A49D-4D47-87FF-F501D911674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389957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/>
          </p:nvPr>
        </p:nvSpPr>
        <p:spPr>
          <a:xfrm>
            <a:off x="757450" y="1638275"/>
            <a:ext cx="9347443" cy="4960327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280246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757450" y="952779"/>
            <a:ext cx="9347444" cy="373271"/>
          </a:xfrm>
        </p:spPr>
        <p:txBody>
          <a:bodyPr>
            <a:noAutofit/>
          </a:bodyPr>
          <a:lstStyle>
            <a:lvl1pPr>
              <a:defRPr sz="2536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/>
          </p:nvPr>
        </p:nvSpPr>
        <p:spPr>
          <a:xfrm>
            <a:off x="757450" y="1638275"/>
            <a:ext cx="9347444" cy="4960327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2392317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757449" y="1641776"/>
            <a:ext cx="6148705" cy="4956827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162350" y="1641776"/>
            <a:ext cx="2942542" cy="4956827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7805122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57449" y="1641776"/>
            <a:ext cx="2942542" cy="4956827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>
          <a:xfrm>
            <a:off x="3952475" y="1641774"/>
            <a:ext cx="6152418" cy="4956828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18168010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57449" y="1641776"/>
            <a:ext cx="9347443" cy="4956827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5129889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siz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57449" y="369133"/>
            <a:ext cx="9347443" cy="622947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87728513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757449" y="1641776"/>
            <a:ext cx="6148705" cy="4956827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162350" y="1641776"/>
            <a:ext cx="2942542" cy="2359393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>
          <a:xfrm>
            <a:off x="7162350" y="4239208"/>
            <a:ext cx="2942542" cy="2359394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1226190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kt 84" hidden="1"/>
          <p:cNvGraphicFramePr>
            <a:graphicFrameLocks noChangeAspect="1"/>
          </p:cNvGraphicFramePr>
          <p:nvPr>
            <p:custDataLst>
              <p:tags r:id="rId26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9" name="think-cell Folie" r:id="rId27" imgW="360" imgH="360" progId="TCLayout.ActiveDocument.1">
                  <p:embed/>
                </p:oleObj>
              </mc:Choice>
              <mc:Fallback>
                <p:oleObj name="think-cell Folie" r:id="rId27" imgW="360" imgH="360" progId="TCLayout.ActiveDocument.1">
                  <p:embed/>
                  <p:pic>
                    <p:nvPicPr>
                      <p:cNvPr id="3074" name="Objekt 8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Titelplatzhalter 1"/>
          <p:cNvSpPr>
            <a:spLocks noGrp="1"/>
          </p:cNvSpPr>
          <p:nvPr>
            <p:ph type="title"/>
          </p:nvPr>
        </p:nvSpPr>
        <p:spPr bwMode="auto">
          <a:xfrm>
            <a:off x="757449" y="369312"/>
            <a:ext cx="9349299" cy="5093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FR" altLang="fr-FR" noProof="1"/>
              <a:t>Titelmasterformat durch Klicken bearbeiten</a:t>
            </a:r>
            <a:endParaRPr lang="en-GB" altLang="fr-FR"/>
          </a:p>
        </p:txBody>
      </p:sp>
      <p:sp>
        <p:nvSpPr>
          <p:cNvPr id="3076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757450" y="1638274"/>
            <a:ext cx="9347443" cy="496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noProof="1"/>
              <a:t>Click to edit text style</a:t>
            </a:r>
          </a:p>
          <a:p>
            <a:pPr lvl="1"/>
            <a:r>
              <a:rPr lang="en-GB" altLang="fr-FR"/>
              <a:t>Second level</a:t>
            </a:r>
          </a:p>
          <a:p>
            <a:pPr lvl="2"/>
            <a:r>
              <a:rPr lang="en-GB" altLang="fr-FR"/>
              <a:t>Third level</a:t>
            </a:r>
          </a:p>
          <a:p>
            <a:pPr lvl="3"/>
            <a:r>
              <a:rPr lang="en-GB" altLang="fr-FR"/>
              <a:t>Forth level</a:t>
            </a:r>
          </a:p>
          <a:p>
            <a:pPr lvl="4"/>
            <a:r>
              <a:rPr lang="en-GB" altLang="fr-FR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611436" y="7135547"/>
            <a:ext cx="1197444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lang="en-GB" sz="992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z="992" smtClean="0">
                <a:solidFill>
                  <a:srgbClr val="7F7F7F"/>
                </a:solidFill>
              </a:rPr>
              <a:pPr>
                <a:defRPr/>
              </a:pPr>
              <a:t>05 August 2020</a:t>
            </a:fld>
            <a:endParaRPr lang="en-GB" sz="992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757450" y="7135547"/>
            <a:ext cx="564257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lang="en-GB" sz="992" dirty="0">
                <a:solidFill>
                  <a:srgbClr val="7F7F7F"/>
                </a:solidFill>
              </a:rPr>
              <a:t>Page </a:t>
            </a:r>
            <a:fld id="{F2E4720E-BB03-455A-8ED1-6CF75A62BB47}" type="slidenum">
              <a:rPr lang="en-GB" sz="992" smtClean="0">
                <a:solidFill>
                  <a:srgbClr val="7F7F7F"/>
                </a:solidFill>
              </a:rPr>
              <a:pPr>
                <a:defRPr/>
              </a:pPr>
              <a:t>‹#›</a:t>
            </a:fld>
            <a:endParaRPr lang="en-GB" sz="992" dirty="0">
              <a:solidFill>
                <a:srgbClr val="7F7F7F"/>
              </a:solidFill>
            </a:endParaRPr>
          </a:p>
        </p:txBody>
      </p:sp>
      <p:grpSp>
        <p:nvGrpSpPr>
          <p:cNvPr id="3079" name="Group 7"/>
          <p:cNvGrpSpPr>
            <a:grpSpLocks/>
          </p:cNvGrpSpPr>
          <p:nvPr/>
        </p:nvGrpSpPr>
        <p:grpSpPr bwMode="auto">
          <a:xfrm>
            <a:off x="9031839" y="7165697"/>
            <a:ext cx="1076766" cy="278297"/>
            <a:chOff x="1005" y="1644"/>
            <a:chExt cx="3749" cy="1030"/>
          </a:xfrm>
        </p:grpSpPr>
        <p:sp>
          <p:nvSpPr>
            <p:cNvPr id="308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103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308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848 w 501"/>
                <a:gd name="T1" fmla="*/ 740 h 429"/>
                <a:gd name="T2" fmla="*/ 800 w 501"/>
                <a:gd name="T3" fmla="*/ 678 h 429"/>
                <a:gd name="T4" fmla="*/ 782 w 501"/>
                <a:gd name="T5" fmla="*/ 655 h 429"/>
                <a:gd name="T6" fmla="*/ 680 w 501"/>
                <a:gd name="T7" fmla="*/ 607 h 429"/>
                <a:gd name="T8" fmla="*/ 548 w 501"/>
                <a:gd name="T9" fmla="*/ 740 h 429"/>
                <a:gd name="T10" fmla="*/ 680 w 501"/>
                <a:gd name="T11" fmla="*/ 870 h 429"/>
                <a:gd name="T12" fmla="*/ 782 w 501"/>
                <a:gd name="T13" fmla="*/ 823 h 429"/>
                <a:gd name="T14" fmla="*/ 800 w 501"/>
                <a:gd name="T15" fmla="*/ 799 h 429"/>
                <a:gd name="T16" fmla="*/ 848 w 501"/>
                <a:gd name="T17" fmla="*/ 740 h 429"/>
                <a:gd name="T18" fmla="*/ 383 w 501"/>
                <a:gd name="T19" fmla="*/ 737 h 429"/>
                <a:gd name="T20" fmla="*/ 680 w 501"/>
                <a:gd name="T21" fmla="*/ 444 h 429"/>
                <a:gd name="T22" fmla="*/ 907 w 501"/>
                <a:gd name="T23" fmla="*/ 548 h 429"/>
                <a:gd name="T24" fmla="*/ 909 w 501"/>
                <a:gd name="T25" fmla="*/ 553 h 429"/>
                <a:gd name="T26" fmla="*/ 914 w 501"/>
                <a:gd name="T27" fmla="*/ 551 h 429"/>
                <a:gd name="T28" fmla="*/ 590 w 501"/>
                <a:gd name="T29" fmla="*/ 0 h 429"/>
                <a:gd name="T30" fmla="*/ 0 w 501"/>
                <a:gd name="T31" fmla="*/ 1014 h 429"/>
                <a:gd name="T32" fmla="*/ 576 w 501"/>
                <a:gd name="T33" fmla="*/ 1014 h 429"/>
                <a:gd name="T34" fmla="*/ 579 w 501"/>
                <a:gd name="T35" fmla="*/ 1012 h 429"/>
                <a:gd name="T36" fmla="*/ 519 w 501"/>
                <a:gd name="T37" fmla="*/ 986 h 429"/>
                <a:gd name="T38" fmla="*/ 383 w 501"/>
                <a:gd name="T39" fmla="*/ 737 h 429"/>
                <a:gd name="T40" fmla="*/ 1171 w 501"/>
                <a:gd name="T41" fmla="*/ 1009 h 429"/>
                <a:gd name="T42" fmla="*/ 1110 w 501"/>
                <a:gd name="T43" fmla="*/ 993 h 429"/>
                <a:gd name="T44" fmla="*/ 956 w 501"/>
                <a:gd name="T45" fmla="*/ 867 h 429"/>
                <a:gd name="T46" fmla="*/ 897 w 501"/>
                <a:gd name="T47" fmla="*/ 941 h 429"/>
                <a:gd name="T48" fmla="*/ 786 w 501"/>
                <a:gd name="T49" fmla="*/ 1012 h 429"/>
                <a:gd name="T50" fmla="*/ 786 w 501"/>
                <a:gd name="T51" fmla="*/ 1014 h 429"/>
                <a:gd name="T52" fmla="*/ 1183 w 501"/>
                <a:gd name="T53" fmla="*/ 1014 h 429"/>
                <a:gd name="T54" fmla="*/ 1183 w 501"/>
                <a:gd name="T55" fmla="*/ 1012 h 429"/>
                <a:gd name="T56" fmla="*/ 1171 w 501"/>
                <a:gd name="T57" fmla="*/ 1009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103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308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404 w 937"/>
                <a:gd name="T1" fmla="*/ 321 h 326"/>
                <a:gd name="T2" fmla="*/ 184 w 937"/>
                <a:gd name="T3" fmla="*/ 210 h 326"/>
                <a:gd name="T4" fmla="*/ 295 w 937"/>
                <a:gd name="T5" fmla="*/ 125 h 326"/>
                <a:gd name="T6" fmla="*/ 439 w 937"/>
                <a:gd name="T7" fmla="*/ 236 h 326"/>
                <a:gd name="T8" fmla="*/ 598 w 937"/>
                <a:gd name="T9" fmla="*/ 236 h 326"/>
                <a:gd name="T10" fmla="*/ 302 w 937"/>
                <a:gd name="T11" fmla="*/ 0 h 326"/>
                <a:gd name="T12" fmla="*/ 28 w 937"/>
                <a:gd name="T13" fmla="*/ 222 h 326"/>
                <a:gd name="T14" fmla="*/ 246 w 937"/>
                <a:gd name="T15" fmla="*/ 432 h 326"/>
                <a:gd name="T16" fmla="*/ 465 w 937"/>
                <a:gd name="T17" fmla="*/ 553 h 326"/>
                <a:gd name="T18" fmla="*/ 321 w 937"/>
                <a:gd name="T19" fmla="*/ 645 h 326"/>
                <a:gd name="T20" fmla="*/ 158 w 937"/>
                <a:gd name="T21" fmla="*/ 508 h 326"/>
                <a:gd name="T22" fmla="*/ 2 w 937"/>
                <a:gd name="T23" fmla="*/ 508 h 326"/>
                <a:gd name="T24" fmla="*/ 317 w 937"/>
                <a:gd name="T25" fmla="*/ 770 h 326"/>
                <a:gd name="T26" fmla="*/ 621 w 937"/>
                <a:gd name="T27" fmla="*/ 534 h 326"/>
                <a:gd name="T28" fmla="*/ 404 w 937"/>
                <a:gd name="T29" fmla="*/ 321 h 326"/>
                <a:gd name="T30" fmla="*/ 1278 w 937"/>
                <a:gd name="T31" fmla="*/ 286 h 326"/>
                <a:gd name="T32" fmla="*/ 1278 w 937"/>
                <a:gd name="T33" fmla="*/ 286 h 326"/>
                <a:gd name="T34" fmla="*/ 1118 w 937"/>
                <a:gd name="T35" fmla="*/ 205 h 326"/>
                <a:gd name="T36" fmla="*/ 884 w 937"/>
                <a:gd name="T37" fmla="*/ 482 h 326"/>
                <a:gd name="T38" fmla="*/ 1122 w 937"/>
                <a:gd name="T39" fmla="*/ 768 h 326"/>
                <a:gd name="T40" fmla="*/ 1283 w 937"/>
                <a:gd name="T41" fmla="*/ 685 h 326"/>
                <a:gd name="T42" fmla="*/ 1285 w 937"/>
                <a:gd name="T43" fmla="*/ 685 h 326"/>
                <a:gd name="T44" fmla="*/ 1285 w 937"/>
                <a:gd name="T45" fmla="*/ 753 h 326"/>
                <a:gd name="T46" fmla="*/ 1425 w 937"/>
                <a:gd name="T47" fmla="*/ 753 h 326"/>
                <a:gd name="T48" fmla="*/ 1425 w 937"/>
                <a:gd name="T49" fmla="*/ 19 h 326"/>
                <a:gd name="T50" fmla="*/ 1278 w 937"/>
                <a:gd name="T51" fmla="*/ 19 h 326"/>
                <a:gd name="T52" fmla="*/ 1278 w 937"/>
                <a:gd name="T53" fmla="*/ 286 h 326"/>
                <a:gd name="T54" fmla="*/ 1158 w 937"/>
                <a:gd name="T55" fmla="*/ 657 h 326"/>
                <a:gd name="T56" fmla="*/ 1030 w 937"/>
                <a:gd name="T57" fmla="*/ 487 h 326"/>
                <a:gd name="T58" fmla="*/ 1158 w 937"/>
                <a:gd name="T59" fmla="*/ 317 h 326"/>
                <a:gd name="T60" fmla="*/ 1283 w 937"/>
                <a:gd name="T61" fmla="*/ 484 h 326"/>
                <a:gd name="T62" fmla="*/ 1158 w 937"/>
                <a:gd name="T63" fmla="*/ 657 h 326"/>
                <a:gd name="T64" fmla="*/ 1751 w 937"/>
                <a:gd name="T65" fmla="*/ 205 h 326"/>
                <a:gd name="T66" fmla="*/ 1479 w 937"/>
                <a:gd name="T67" fmla="*/ 487 h 326"/>
                <a:gd name="T68" fmla="*/ 1751 w 937"/>
                <a:gd name="T69" fmla="*/ 768 h 326"/>
                <a:gd name="T70" fmla="*/ 1999 w 937"/>
                <a:gd name="T71" fmla="*/ 588 h 326"/>
                <a:gd name="T72" fmla="*/ 1871 w 937"/>
                <a:gd name="T73" fmla="*/ 588 h 326"/>
                <a:gd name="T74" fmla="*/ 1756 w 937"/>
                <a:gd name="T75" fmla="*/ 657 h 326"/>
                <a:gd name="T76" fmla="*/ 1623 w 937"/>
                <a:gd name="T77" fmla="*/ 522 h 326"/>
                <a:gd name="T78" fmla="*/ 2008 w 937"/>
                <a:gd name="T79" fmla="*/ 522 h 326"/>
                <a:gd name="T80" fmla="*/ 1751 w 937"/>
                <a:gd name="T81" fmla="*/ 205 h 326"/>
                <a:gd name="T82" fmla="*/ 1623 w 937"/>
                <a:gd name="T83" fmla="*/ 430 h 326"/>
                <a:gd name="T84" fmla="*/ 1746 w 937"/>
                <a:gd name="T85" fmla="*/ 317 h 326"/>
                <a:gd name="T86" fmla="*/ 1862 w 937"/>
                <a:gd name="T87" fmla="*/ 430 h 326"/>
                <a:gd name="T88" fmla="*/ 1623 w 937"/>
                <a:gd name="T89" fmla="*/ 430 h 326"/>
                <a:gd name="T90" fmla="*/ 2068 w 937"/>
                <a:gd name="T91" fmla="*/ 753 h 326"/>
                <a:gd name="T92" fmla="*/ 2214 w 937"/>
                <a:gd name="T93" fmla="*/ 753 h 326"/>
                <a:gd name="T94" fmla="*/ 2214 w 937"/>
                <a:gd name="T95" fmla="*/ 19 h 326"/>
                <a:gd name="T96" fmla="*/ 2068 w 937"/>
                <a:gd name="T97" fmla="*/ 19 h 326"/>
                <a:gd name="T98" fmla="*/ 2068 w 937"/>
                <a:gd name="T99" fmla="*/ 753 h 326"/>
                <a:gd name="T100" fmla="*/ 676 w 937"/>
                <a:gd name="T101" fmla="*/ 753 h 326"/>
                <a:gd name="T102" fmla="*/ 822 w 937"/>
                <a:gd name="T103" fmla="*/ 753 h 326"/>
                <a:gd name="T104" fmla="*/ 822 w 937"/>
                <a:gd name="T105" fmla="*/ 220 h 326"/>
                <a:gd name="T106" fmla="*/ 676 w 937"/>
                <a:gd name="T107" fmla="*/ 220 h 326"/>
                <a:gd name="T108" fmla="*/ 676 w 937"/>
                <a:gd name="T109" fmla="*/ 753 h 326"/>
                <a:gd name="T110" fmla="*/ 676 w 937"/>
                <a:gd name="T111" fmla="*/ 139 h 326"/>
                <a:gd name="T112" fmla="*/ 822 w 937"/>
                <a:gd name="T113" fmla="*/ 139 h 326"/>
                <a:gd name="T114" fmla="*/ 822 w 937"/>
                <a:gd name="T115" fmla="*/ 19 h 326"/>
                <a:gd name="T116" fmla="*/ 676 w 937"/>
                <a:gd name="T117" fmla="*/ 19 h 326"/>
                <a:gd name="T118" fmla="*/ 676 w 937"/>
                <a:gd name="T119" fmla="*/ 139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103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757450" y="7036175"/>
            <a:ext cx="934744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FF9D27DC-5E51-4C6C-8CE1-47B8AC860863}"/>
              </a:ext>
            </a:extLst>
          </p:cNvPr>
          <p:cNvSpPr txBox="1"/>
          <p:nvPr userDrawn="1"/>
        </p:nvSpPr>
        <p:spPr>
          <a:xfrm>
            <a:off x="5015379" y="7327840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25"/>
    </p:custDataLst>
    <p:extLst>
      <p:ext uri="{BB962C8B-B14F-4D97-AF65-F5344CB8AC3E}">
        <p14:creationId xmlns:p14="http://schemas.microsoft.com/office/powerpoint/2010/main" val="124006053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21" r:id="rId1"/>
    <p:sldLayoutId id="2147483822" r:id="rId2"/>
    <p:sldLayoutId id="2147483823" r:id="rId3"/>
    <p:sldLayoutId id="2147483824" r:id="rId4"/>
    <p:sldLayoutId id="2147483825" r:id="rId5"/>
    <p:sldLayoutId id="2147483826" r:id="rId6"/>
    <p:sldLayoutId id="2147483827" r:id="rId7"/>
    <p:sldLayoutId id="2147483828" r:id="rId8"/>
    <p:sldLayoutId id="2147483829" r:id="rId9"/>
    <p:sldLayoutId id="2147483830" r:id="rId10"/>
    <p:sldLayoutId id="2147483831" r:id="rId11"/>
    <p:sldLayoutId id="2147483832" r:id="rId12"/>
    <p:sldLayoutId id="2147483833" r:id="rId13"/>
    <p:sldLayoutId id="2147483834" r:id="rId14"/>
    <p:sldLayoutId id="2147483835" r:id="rId15"/>
    <p:sldLayoutId id="2147483836" r:id="rId16"/>
    <p:sldLayoutId id="2147483837" r:id="rId17"/>
    <p:sldLayoutId id="2147483838" r:id="rId18"/>
    <p:sldLayoutId id="2147483839" r:id="rId19"/>
    <p:sldLayoutId id="2147483840" r:id="rId20"/>
    <p:sldLayoutId id="2147483841" r:id="rId21"/>
    <p:sldLayoutId id="2147483842" r:id="rId22"/>
  </p:sldLayoutIdLst>
  <p:hf sldNum="0" hdr="0" dt="0"/>
  <p:txStyles>
    <p:titleStyle>
      <a:lvl1pPr algn="l" rtl="0" fontAlgn="base">
        <a:spcBef>
          <a:spcPct val="0"/>
        </a:spcBef>
        <a:spcAft>
          <a:spcPct val="0"/>
        </a:spcAft>
        <a:defRPr sz="3308" b="1" kern="1200">
          <a:solidFill>
            <a:srgbClr val="E64B00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5pPr>
      <a:lvl6pPr marL="504063"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6pPr>
      <a:lvl7pPr marL="1008126"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7pPr>
      <a:lvl8pPr marL="1512189"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8pPr>
      <a:lvl9pPr marL="2016252"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9pPr>
    </p:titleStyle>
    <p:bodyStyle>
      <a:lvl1pPr algn="l" rtl="0" fontAlgn="base">
        <a:spcBef>
          <a:spcPts val="441"/>
        </a:spcBef>
        <a:spcAft>
          <a:spcPct val="0"/>
        </a:spcAft>
        <a:buClr>
          <a:srgbClr val="E64B00"/>
        </a:buClr>
        <a:buFont typeface="Wingdings" panose="05000000000000000000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196025" indent="-196025" algn="l" rtl="0" fontAlgn="base">
        <a:spcBef>
          <a:spcPts val="441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393800" indent="-197775" algn="l" rtl="0" fontAlgn="base">
        <a:spcBef>
          <a:spcPts val="441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544" kern="1200">
          <a:solidFill>
            <a:schemeClr val="tx1"/>
          </a:solidFill>
          <a:latin typeface="+mn-lt"/>
          <a:ea typeface="+mn-ea"/>
          <a:cs typeface="+mn-cs"/>
        </a:defRPr>
      </a:lvl3pPr>
      <a:lvl4pPr marL="589824" indent="-196025" algn="l" rtl="0" fontAlgn="base">
        <a:spcBef>
          <a:spcPts val="441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544" kern="1200">
          <a:solidFill>
            <a:schemeClr val="tx1"/>
          </a:solidFill>
          <a:latin typeface="+mn-lt"/>
          <a:ea typeface="+mn-ea"/>
          <a:cs typeface="+mn-cs"/>
        </a:defRPr>
      </a:lvl4pPr>
      <a:lvl5pPr marL="787598" indent="-197775" algn="l" rtl="0" fontAlgn="base">
        <a:spcBef>
          <a:spcPts val="441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544" kern="1200">
          <a:solidFill>
            <a:schemeClr val="tx1"/>
          </a:solidFill>
          <a:latin typeface="+mn-lt"/>
          <a:ea typeface="+mn-ea"/>
          <a:cs typeface="+mn-cs"/>
        </a:defRPr>
      </a:lvl5pPr>
      <a:lvl6pPr marL="2772347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6pPr>
      <a:lvl7pPr marL="3276410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7pPr>
      <a:lvl8pPr marL="3780473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8pPr>
      <a:lvl9pPr marL="4284536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1pPr>
      <a:lvl2pPr marL="504063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2pPr>
      <a:lvl3pPr marL="1008126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3pPr>
      <a:lvl4pPr marL="1512189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4pPr>
      <a:lvl5pPr marL="2016252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5pPr>
      <a:lvl6pPr marL="2520315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6pPr>
      <a:lvl7pPr marL="3024378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7pPr>
      <a:lvl8pPr marL="3528441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8pPr>
      <a:lvl9pPr marL="4032504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Title 1">
            <a:extLst>
              <a:ext uri="{FF2B5EF4-FFF2-40B4-BE49-F238E27FC236}">
                <a16:creationId xmlns:a16="http://schemas.microsoft.com/office/drawing/2014/main" id="{1BF97C85-1960-44E2-B1C9-F2FA8F021E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4529" y="378561"/>
            <a:ext cx="8931617" cy="1056959"/>
          </a:xfrm>
        </p:spPr>
        <p:txBody>
          <a:bodyPr/>
          <a:lstStyle/>
          <a:p>
            <a:r>
              <a:rPr lang="en-US" altLang="fr-FR" dirty="0">
                <a:solidFill>
                  <a:srgbClr val="E64B00"/>
                </a:solidFill>
              </a:rPr>
              <a:t>Incremente la calidad de su producto </a:t>
            </a:r>
            <a:r>
              <a:rPr lang="en-US" altLang="zh-CN" dirty="0">
                <a:solidFill>
                  <a:srgbClr val="E64B00"/>
                </a:solidFill>
              </a:rPr>
              <a:t>limitando la contaminación de las </a:t>
            </a:r>
            <a:r>
              <a:rPr lang="en-US" altLang="zh-CN" dirty="0" err="1">
                <a:solidFill>
                  <a:srgbClr val="E64B00"/>
                </a:solidFill>
              </a:rPr>
              <a:t>preformas</a:t>
            </a:r>
            <a:endParaRPr lang="es-ES" altLang="fr-FR" dirty="0">
              <a:solidFill>
                <a:srgbClr val="E64B00"/>
              </a:solidFill>
            </a:endParaRPr>
          </a:p>
        </p:txBody>
      </p:sp>
      <p:sp>
        <p:nvSpPr>
          <p:cNvPr id="17411" name="Content Placeholder 3">
            <a:extLst>
              <a:ext uri="{FF2B5EF4-FFF2-40B4-BE49-F238E27FC236}">
                <a16:creationId xmlns:a16="http://schemas.microsoft.com/office/drawing/2014/main" id="{85331306-631E-45CF-BFE5-DCDC8C969B3D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1324528" y="1722976"/>
            <a:ext cx="7833296" cy="282090"/>
          </a:xfrm>
        </p:spPr>
        <p:txBody>
          <a:bodyPr/>
          <a:lstStyle/>
          <a:p>
            <a:r>
              <a:rPr lang="en-US" altLang="fr-FR" sz="1876" dirty="0"/>
              <a:t>Tapadera basculante en la tolva sin sobrepresión</a:t>
            </a:r>
            <a:r>
              <a:rPr dirty="0"/>
              <a:t> </a:t>
            </a:r>
            <a:endParaRPr lang="es-ES" altLang="zh-CN" sz="1876" dirty="0"/>
          </a:p>
          <a:p>
            <a:endParaRPr lang="es-ES" altLang="fr-FR" dirty="0"/>
          </a:p>
        </p:txBody>
      </p:sp>
      <p:sp>
        <p:nvSpPr>
          <p:cNvPr id="6" name="Rechteck 4">
            <a:extLst>
              <a:ext uri="{FF2B5EF4-FFF2-40B4-BE49-F238E27FC236}">
                <a16:creationId xmlns:a16="http://schemas.microsoft.com/office/drawing/2014/main" id="{26F0C6D1-6126-40F0-B3F1-44A4828F6EDC}"/>
              </a:ext>
            </a:extLst>
          </p:cNvPr>
          <p:cNvSpPr>
            <a:spLocks/>
          </p:cNvSpPr>
          <p:nvPr/>
        </p:nvSpPr>
        <p:spPr>
          <a:xfrm>
            <a:off x="1324528" y="2471502"/>
            <a:ext cx="4084114" cy="3678566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841" tIns="70561" rIns="105841" bIns="70561"/>
          <a:lstStyle/>
          <a:p>
            <a:pPr marL="178888" indent="-178888" defTabSz="895996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endParaRPr lang="en-US" altLang="zh-CN" sz="1131" b="0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" name="Rechteck 12">
            <a:extLst>
              <a:ext uri="{FF2B5EF4-FFF2-40B4-BE49-F238E27FC236}">
                <a16:creationId xmlns:a16="http://schemas.microsoft.com/office/drawing/2014/main" id="{B8466011-C770-47A6-86EE-D880D7A7AF4C}"/>
              </a:ext>
            </a:extLst>
          </p:cNvPr>
          <p:cNvSpPr>
            <a:spLocks/>
          </p:cNvSpPr>
          <p:nvPr/>
        </p:nvSpPr>
        <p:spPr>
          <a:xfrm>
            <a:off x="5505484" y="2471500"/>
            <a:ext cx="4029828" cy="3678569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841" tIns="70561" rIns="105841" bIns="70561"/>
          <a:lstStyle/>
          <a:p>
            <a:pPr marL="178888" lvl="1" indent="-178888" defTabSz="895996">
              <a:spcBef>
                <a:spcPts val="294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915097" algn="l"/>
                <a:tab pos="3087764" algn="l"/>
              </a:tabLst>
              <a:defRPr/>
            </a:pPr>
            <a:endParaRPr lang="en-US" altLang="zh-CN" sz="1245" b="0" dirty="0">
              <a:solidFill>
                <a:srgbClr val="000000"/>
              </a:solidFill>
              <a:latin typeface="Arial"/>
              <a:ea typeface="宋体" panose="02010600030101010101" pitchFamily="2" charset="-122"/>
            </a:endParaRPr>
          </a:p>
        </p:txBody>
      </p:sp>
      <p:sp>
        <p:nvSpPr>
          <p:cNvPr id="17416" name="Text Placeholder 2">
            <a:extLst>
              <a:ext uri="{FF2B5EF4-FFF2-40B4-BE49-F238E27FC236}">
                <a16:creationId xmlns:a16="http://schemas.microsoft.com/office/drawing/2014/main" id="{B1AF4CBF-8C17-49EB-BB4A-2810FE698516}"/>
              </a:ext>
            </a:extLst>
          </p:cNvPr>
          <p:cNvSpPr txBox="1">
            <a:spLocks/>
          </p:cNvSpPr>
          <p:nvPr/>
        </p:nvSpPr>
        <p:spPr bwMode="auto">
          <a:xfrm>
            <a:off x="1324528" y="6219913"/>
            <a:ext cx="7819294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895996" eaLnBrk="1" hangingPunct="1">
              <a:spcBef>
                <a:spcPct val="20000"/>
              </a:spcBef>
              <a:buClrTx/>
              <a:defRPr/>
            </a:pPr>
            <a:r>
              <a:rPr lang="en-GB" altLang="fr-FR" sz="800" b="0" dirty="0">
                <a:solidFill>
                  <a:srgbClr val="000000"/>
                </a:solidFill>
              </a:rPr>
              <a:t>Valor: calidad del </a:t>
            </a:r>
            <a:r>
              <a:rPr lang="en-GB" altLang="fr-FR" sz="800" b="0" dirty="0" err="1">
                <a:solidFill>
                  <a:srgbClr val="000000"/>
                </a:solidFill>
              </a:rPr>
              <a:t>producto</a:t>
            </a:r>
            <a:endParaRPr lang="en-GB" altLang="fr-FR" sz="800" b="0" dirty="0">
              <a:solidFill>
                <a:srgbClr val="000000"/>
              </a:solidFill>
            </a:endParaRPr>
          </a:p>
          <a:p>
            <a:pPr defTabSz="895996" eaLnBrk="1" hangingPunct="1">
              <a:spcBef>
                <a:spcPct val="20000"/>
              </a:spcBef>
              <a:buClrTx/>
              <a:defRPr/>
            </a:pPr>
            <a:r>
              <a:rPr lang="en-GB" altLang="fr-FR" sz="800" b="0" dirty="0">
                <a:solidFill>
                  <a:srgbClr val="000000"/>
                </a:solidFill>
              </a:rPr>
              <a:t>Equipo: </a:t>
            </a:r>
            <a:r>
              <a:rPr lang="en-GB" altLang="fr-FR" sz="800" b="0" dirty="0" err="1">
                <a:solidFill>
                  <a:srgbClr val="000000"/>
                </a:solidFill>
              </a:rPr>
              <a:t>sopladoras</a:t>
            </a:r>
            <a:r>
              <a:rPr lang="en-GB" altLang="fr-FR" sz="800" b="0" dirty="0">
                <a:solidFill>
                  <a:srgbClr val="000000"/>
                </a:solidFill>
              </a:rPr>
              <a:t> Universal</a:t>
            </a:r>
          </a:p>
          <a:p>
            <a:pPr defTabSz="895996" eaLnBrk="1" hangingPunct="1">
              <a:spcBef>
                <a:spcPct val="20000"/>
              </a:spcBef>
              <a:buClrTx/>
              <a:defRPr/>
            </a:pPr>
            <a:r>
              <a:rPr lang="en-GB" altLang="fr-FR" sz="800" b="0" dirty="0">
                <a:solidFill>
                  <a:srgbClr val="000000"/>
                </a:solidFill>
              </a:rPr>
              <a:t>Código de catálogo</a:t>
            </a:r>
            <a:r>
              <a:rPr lang="en-GB" altLang="fr-FR" sz="800" b="0">
                <a:solidFill>
                  <a:srgbClr val="000000"/>
                </a:solidFill>
              </a:rPr>
              <a:t>: 1016</a:t>
            </a:r>
            <a:endParaRPr lang="en-GB" altLang="fr-FR" sz="800" b="0" dirty="0">
              <a:solidFill>
                <a:srgbClr val="000000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5FDF8CE-634F-4A4C-9FA0-CEE5E4D2394C}"/>
              </a:ext>
            </a:extLst>
          </p:cNvPr>
          <p:cNvSpPr/>
          <p:nvPr/>
        </p:nvSpPr>
        <p:spPr>
          <a:xfrm>
            <a:off x="1324529" y="2471502"/>
            <a:ext cx="3987945" cy="16090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9752" indent="-189752" defTabSz="950409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US" altLang="x-none" sz="1323" b="0" kern="0" dirty="0">
                <a:solidFill>
                  <a:srgbClr val="000000"/>
                </a:solidFill>
                <a:latin typeface="Arial"/>
              </a:rPr>
              <a:t>Mejora la higiene de la producción, </a:t>
            </a:r>
            <a:r>
              <a:rPr lang="en-US" altLang="fr-FR" sz="1323" b="0" kern="0" dirty="0">
                <a:solidFill>
                  <a:srgbClr val="000000"/>
                </a:solidFill>
                <a:latin typeface="Arial"/>
              </a:rPr>
              <a:t>ya que</a:t>
            </a:r>
            <a:r>
              <a:rPr lang="en-US" altLang="zh-CN" sz="1323" b="0" kern="0" dirty="0">
                <a:solidFill>
                  <a:srgbClr val="000000"/>
                </a:solidFill>
                <a:latin typeface="Arial"/>
              </a:rPr>
              <a:t> limita la contaminación de las preformas en la tolva.</a:t>
            </a:r>
            <a:endParaRPr lang="es-ES" altLang="x-none" sz="1323" b="0" kern="0" dirty="0">
              <a:solidFill>
                <a:srgbClr val="000000"/>
              </a:solidFill>
              <a:latin typeface="Arial"/>
            </a:endParaRPr>
          </a:p>
          <a:p>
            <a:pPr marL="189752" indent="-189752" defTabSz="950409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US" altLang="zh-CN" sz="1323" b="0" kern="0" dirty="0">
                <a:solidFill>
                  <a:srgbClr val="000000"/>
                </a:solidFill>
                <a:latin typeface="Arial"/>
              </a:rPr>
              <a:t>Impide que una preforma (por ejemplo, tomada del suelo) o cualquier otro objeto externo al área de alimentación de preformas se introduzca en la tolva, de forma intencionada o no, durante la fase de producción.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B7FD01D-E3A3-458C-8D3A-88485ECAEAD4}"/>
              </a:ext>
            </a:extLst>
          </p:cNvPr>
          <p:cNvSpPr/>
          <p:nvPr/>
        </p:nvSpPr>
        <p:spPr>
          <a:xfrm>
            <a:off x="5520946" y="2471501"/>
            <a:ext cx="4014366" cy="21078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9752" lvl="1" indent="-189752" defTabSz="950409">
              <a:spcBef>
                <a:spcPct val="45000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3092128" algn="l"/>
                <a:tab pos="3275281" algn="l"/>
              </a:tabLst>
              <a:defRPr/>
            </a:pPr>
            <a:r>
              <a:rPr lang="en-US" altLang="zh-CN" sz="1323" b="0" kern="0" dirty="0">
                <a:solidFill>
                  <a:srgbClr val="000000"/>
                </a:solidFill>
                <a:latin typeface="Arial"/>
              </a:rPr>
              <a:t>Esta opción permite cubrir la parte superior de la tolva y evitar así que se deposite polvo en su interior. </a:t>
            </a:r>
          </a:p>
          <a:p>
            <a:pPr marL="189752" lvl="1" indent="-189752" defTabSz="950409">
              <a:spcBef>
                <a:spcPct val="45000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3092128" algn="l"/>
                <a:tab pos="3275281" algn="l"/>
              </a:tabLst>
              <a:defRPr/>
            </a:pPr>
            <a:r>
              <a:rPr lang="en-US" altLang="zh-CN" sz="1323" b="0" kern="0" dirty="0">
                <a:solidFill>
                  <a:srgbClr val="000000"/>
                </a:solidFill>
                <a:latin typeface="Arial"/>
              </a:rPr>
              <a:t>Se compone de una tapadera y de un motor de engranajes.</a:t>
            </a:r>
          </a:p>
          <a:p>
            <a:pPr marL="189752" lvl="1" indent="-189752" defTabSz="950409">
              <a:spcBef>
                <a:spcPct val="45000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3092128" algn="l"/>
                <a:tab pos="3275281" algn="l"/>
              </a:tabLst>
              <a:defRPr/>
            </a:pPr>
            <a:r>
              <a:rPr lang="en-US" altLang="zh-CN" sz="1323" b="0" kern="0" dirty="0">
                <a:solidFill>
                  <a:srgbClr val="000000"/>
                </a:solidFill>
                <a:latin typeface="Arial"/>
              </a:rPr>
              <a:t>En el modo manual, durante la carga de las preformas, el operador supervisa la apertura/el cierre de la campana mediante una unidad de control.</a:t>
            </a:r>
          </a:p>
        </p:txBody>
      </p:sp>
      <p:pic>
        <p:nvPicPr>
          <p:cNvPr id="13" name="Image 32">
            <a:extLst>
              <a:ext uri="{FF2B5EF4-FFF2-40B4-BE49-F238E27FC236}">
                <a16:creationId xmlns:a16="http://schemas.microsoft.com/office/drawing/2014/main" id="{19637D86-FD6B-4E4D-B57D-D290DC3236F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22278" y="4296680"/>
            <a:ext cx="1388555" cy="1767626"/>
          </a:xfrm>
          <a:prstGeom prst="rect">
            <a:avLst/>
          </a:prstGeom>
        </p:spPr>
      </p:pic>
      <p:sp>
        <p:nvSpPr>
          <p:cNvPr id="12" name="Rechteck 3">
            <a:extLst>
              <a:ext uri="{FF2B5EF4-FFF2-40B4-BE49-F238E27FC236}">
                <a16:creationId xmlns:a16="http://schemas.microsoft.com/office/drawing/2014/main" id="{439849DB-F3BE-4625-B6CE-63C6772CB369}"/>
              </a:ext>
            </a:extLst>
          </p:cNvPr>
          <p:cNvSpPr/>
          <p:nvPr/>
        </p:nvSpPr>
        <p:spPr>
          <a:xfrm>
            <a:off x="1324528" y="2008002"/>
            <a:ext cx="4084114" cy="46349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786" tIns="66524" rIns="99786" bIns="66524" anchor="ctr"/>
          <a:lstStyle/>
          <a:p>
            <a:pPr defTabSz="1008126" eaLnBrk="1" hangingPunct="1">
              <a:spcBef>
                <a:spcPts val="331"/>
              </a:spcBef>
              <a:buClr>
                <a:srgbClr val="FF6600"/>
              </a:buClr>
            </a:pPr>
            <a:r>
              <a:rPr lang="fr-FR" altLang="fr-FR" sz="1544" dirty="0">
                <a:solidFill>
                  <a:srgbClr val="FFFFFF"/>
                </a:solidFill>
                <a:latin typeface="Arial"/>
                <a:ea typeface="ＭＳ Ｐゴシック" pitchFamily="34" charset="-128"/>
                <a:cs typeface="Arial" charset="0"/>
              </a:rPr>
              <a:t>VALOR Y VENTAJAS</a:t>
            </a:r>
          </a:p>
        </p:txBody>
      </p:sp>
      <p:sp>
        <p:nvSpPr>
          <p:cNvPr id="14" name="Rechteck 11">
            <a:extLst>
              <a:ext uri="{FF2B5EF4-FFF2-40B4-BE49-F238E27FC236}">
                <a16:creationId xmlns:a16="http://schemas.microsoft.com/office/drawing/2014/main" id="{D66CF612-DAA7-4FF7-AC33-2CC7F2E06F18}"/>
              </a:ext>
            </a:extLst>
          </p:cNvPr>
          <p:cNvSpPr/>
          <p:nvPr/>
        </p:nvSpPr>
        <p:spPr>
          <a:xfrm>
            <a:off x="5505485" y="2005066"/>
            <a:ext cx="4029828" cy="466434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786" tIns="66524" rIns="99786" bIns="66524" anchor="ctr"/>
          <a:lstStyle/>
          <a:p>
            <a:pPr defTabSz="1008126" eaLnBrk="1" hangingPunct="1">
              <a:spcBef>
                <a:spcPts val="331"/>
              </a:spcBef>
              <a:buClr>
                <a:srgbClr val="E64B00"/>
              </a:buClr>
            </a:pPr>
            <a:r>
              <a:rPr lang="fr-FR" altLang="fr-FR" sz="1544" dirty="0">
                <a:solidFill>
                  <a:srgbClr val="FFFFFF"/>
                </a:solidFill>
                <a:latin typeface="Arial"/>
                <a:cs typeface="Arial" charset="0"/>
              </a:rPr>
              <a:t>DESCRIPCIÓN</a:t>
            </a:r>
            <a:endParaRPr lang="fr-FR" altLang="de-DE" sz="1544" b="0" dirty="0">
              <a:solidFill>
                <a:srgbClr val="FFFFFF"/>
              </a:solidFill>
              <a:latin typeface="Arial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56420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</TotalTime>
  <Pages>1</Pages>
  <Words>159</Words>
  <Application>Microsoft Office PowerPoint</Application>
  <PresentationFormat>Custom</PresentationFormat>
  <Paragraphs>12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ＭＳ Ｐゴシック</vt:lpstr>
      <vt:lpstr>ＭＳ Ｐゴシック</vt:lpstr>
      <vt:lpstr>宋体</vt:lpstr>
      <vt:lpstr>Arial</vt:lpstr>
      <vt:lpstr>Book Antiqua</vt:lpstr>
      <vt:lpstr>Wingdings</vt:lpstr>
      <vt:lpstr>NewSidel_Template_4x3_with add layouts</vt:lpstr>
      <vt:lpstr>think-cell Folie</vt:lpstr>
      <vt:lpstr>Incremente la calidad de su producto limitando la contaminación de las preformas</vt:lpstr>
    </vt:vector>
  </TitlesOfParts>
  <Manager>Dominique Martin</Manager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ottle Switch System</dc:title>
  <dc:subject>Selling points</dc:subject>
  <dc:creator>Mathieu Druon</dc:creator>
  <cp:keywords/>
  <dc:description/>
  <cp:lastModifiedBy>Sorega, Dan</cp:lastModifiedBy>
  <cp:revision>527</cp:revision>
  <cp:lastPrinted>2016-08-02T08:13:06Z</cp:lastPrinted>
  <dcterms:created xsi:type="dcterms:W3CDTF">2009-07-10T13:59:45Z</dcterms:created>
  <dcterms:modified xsi:type="dcterms:W3CDTF">2020-08-05T11:52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4480757-a570-4f64-84e7-c5b3ffe9d573_Enabled">
    <vt:lpwstr>True</vt:lpwstr>
  </property>
  <property fmtid="{D5CDD505-2E9C-101B-9397-08002B2CF9AE}" pid="3" name="MSIP_Label_94480757-a570-4f64-84e7-c5b3ffe9d573_SiteId">
    <vt:lpwstr>2390cbd1-e663-4321-bc93-ba298637ce52</vt:lpwstr>
  </property>
  <property fmtid="{D5CDD505-2E9C-101B-9397-08002B2CF9AE}" pid="4" name="MSIP_Label_94480757-a570-4f64-84e7-c5b3ffe9d573_Owner">
    <vt:lpwstr>107200@sidel.com</vt:lpwstr>
  </property>
  <property fmtid="{D5CDD505-2E9C-101B-9397-08002B2CF9AE}" pid="5" name="MSIP_Label_94480757-a570-4f64-84e7-c5b3ffe9d573_SetDate">
    <vt:lpwstr>2020-08-05T11:44:32.1777957Z</vt:lpwstr>
  </property>
  <property fmtid="{D5CDD505-2E9C-101B-9397-08002B2CF9AE}" pid="6" name="MSIP_Label_94480757-a570-4f64-84e7-c5b3ffe9d573_Name">
    <vt:lpwstr>General</vt:lpwstr>
  </property>
  <property fmtid="{D5CDD505-2E9C-101B-9397-08002B2CF9AE}" pid="7" name="MSIP_Label_94480757-a570-4f64-84e7-c5b3ffe9d573_Application">
    <vt:lpwstr>Microsoft Azure Information Protection</vt:lpwstr>
  </property>
  <property fmtid="{D5CDD505-2E9C-101B-9397-08002B2CF9AE}" pid="8" name="MSIP_Label_94480757-a570-4f64-84e7-c5b3ffe9d573_Extended_MSFT_Method">
    <vt:lpwstr>Automatic</vt:lpwstr>
  </property>
  <property fmtid="{D5CDD505-2E9C-101B-9397-08002B2CF9AE}" pid="9" name="MSIP_Label_e35bb0a3-90cf-41a8-939e-500b35438edf_Enabled">
    <vt:lpwstr>True</vt:lpwstr>
  </property>
  <property fmtid="{D5CDD505-2E9C-101B-9397-08002B2CF9AE}" pid="10" name="MSIP_Label_e35bb0a3-90cf-41a8-939e-500b35438edf_SiteId">
    <vt:lpwstr>2390cbd1-e663-4321-bc93-ba298637ce52</vt:lpwstr>
  </property>
  <property fmtid="{D5CDD505-2E9C-101B-9397-08002B2CF9AE}" pid="11" name="MSIP_Label_e35bb0a3-90cf-41a8-939e-500b35438edf_Owner">
    <vt:lpwstr>107200@sidel.com</vt:lpwstr>
  </property>
  <property fmtid="{D5CDD505-2E9C-101B-9397-08002B2CF9AE}" pid="12" name="MSIP_Label_e35bb0a3-90cf-41a8-939e-500b35438edf_SetDate">
    <vt:lpwstr>2018-03-30T13:41:25.2233940+02:00</vt:lpwstr>
  </property>
  <property fmtid="{D5CDD505-2E9C-101B-9397-08002B2CF9AE}" pid="13" name="MSIP_Label_e35bb0a3-90cf-41a8-939e-500b35438edf_Name">
    <vt:lpwstr>Sidel-Confidential</vt:lpwstr>
  </property>
  <property fmtid="{D5CDD505-2E9C-101B-9397-08002B2CF9AE}" pid="14" name="MSIP_Label_e35bb0a3-90cf-41a8-939e-500b35438edf_Application">
    <vt:lpwstr>Microsoft Azure Information Protection</vt:lpwstr>
  </property>
  <property fmtid="{D5CDD505-2E9C-101B-9397-08002B2CF9AE}" pid="15" name="MSIP_Label_e35bb0a3-90cf-41a8-939e-500b35438edf_Extended_MSFT_Method">
    <vt:lpwstr>Automatic</vt:lpwstr>
  </property>
  <property fmtid="{D5CDD505-2E9C-101B-9397-08002B2CF9AE}" pid="16" name="MSIP_Label_06263584-a2fa-494a-b6ac-a3eeadb86bd0_Enabled">
    <vt:lpwstr>True</vt:lpwstr>
  </property>
  <property fmtid="{D5CDD505-2E9C-101B-9397-08002B2CF9AE}" pid="17" name="MSIP_Label_06263584-a2fa-494a-b6ac-a3eeadb86bd0_SiteId">
    <vt:lpwstr>2390cbd1-e663-4321-bc93-ba298637ce52</vt:lpwstr>
  </property>
  <property fmtid="{D5CDD505-2E9C-101B-9397-08002B2CF9AE}" pid="18" name="MSIP_Label_06263584-a2fa-494a-b6ac-a3eeadb86bd0_Owner">
    <vt:lpwstr>107200@sidel.com</vt:lpwstr>
  </property>
  <property fmtid="{D5CDD505-2E9C-101B-9397-08002B2CF9AE}" pid="19" name="MSIP_Label_06263584-a2fa-494a-b6ac-a3eeadb86bd0_SetDate">
    <vt:lpwstr>2018-03-30T13:41:25.2233940+02:00</vt:lpwstr>
  </property>
  <property fmtid="{D5CDD505-2E9C-101B-9397-08002B2CF9AE}" pid="20" name="MSIP_Label_06263584-a2fa-494a-b6ac-a3eeadb86bd0_Name">
    <vt:lpwstr>Internal</vt:lpwstr>
  </property>
  <property fmtid="{D5CDD505-2E9C-101B-9397-08002B2CF9AE}" pid="21" name="MSIP_Label_06263584-a2fa-494a-b6ac-a3eeadb86bd0_Application">
    <vt:lpwstr>Microsoft Azure Information Protection</vt:lpwstr>
  </property>
  <property fmtid="{D5CDD505-2E9C-101B-9397-08002B2CF9AE}" pid="22" name="MSIP_Label_06263584-a2fa-494a-b6ac-a3eeadb86bd0_Extended_MSFT_Method">
    <vt:lpwstr>Automatic</vt:lpwstr>
  </property>
  <property fmtid="{D5CDD505-2E9C-101B-9397-08002B2CF9AE}" pid="23" name="Sensitivity">
    <vt:lpwstr>General Sidel-Confidential Internal</vt:lpwstr>
  </property>
</Properties>
</file>